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sldIdLst>
    <p:sldId id="256" r:id="rId2"/>
    <p:sldId id="257" r:id="rId3"/>
    <p:sldId id="277" r:id="rId4"/>
    <p:sldId id="276" r:id="rId5"/>
    <p:sldId id="275" r:id="rId6"/>
    <p:sldId id="278" r:id="rId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660"/>
  </p:normalViewPr>
  <p:slideViewPr>
    <p:cSldViewPr snapToGrid="0">
      <p:cViewPr varScale="1">
        <p:scale>
          <a:sx n="120" d="100"/>
          <a:sy n="120" d="100"/>
        </p:scale>
        <p:origin x="186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892625-16AC-452B-A910-C2303283CF49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362297-B7AA-4CE9-90EA-BC34C857799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842946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27070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Install Power-user to access thousands of templates, icons, maps, diagrams and charts with Power-user.</a:t>
            </a:r>
          </a:p>
          <a:p>
            <a:r>
              <a:rPr lang="en-US" dirty="0"/>
              <a:t>Visit </a:t>
            </a:r>
            <a:r>
              <a:rPr lang="en-US" dirty="0">
                <a:hlinkClick r:id="rId3"/>
              </a:rPr>
              <a:t>https://www.powerusersoftwares.com/</a:t>
            </a:r>
            <a:endParaRPr lang="en-US" dirty="0"/>
          </a:p>
          <a:p>
            <a:r>
              <a:rPr lang="en-US" dirty="0"/>
              <a:t>©Power-user SAS, terms of license: </a:t>
            </a:r>
            <a:r>
              <a:rPr lang="en-US" dirty="0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842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Title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62399" y="1964267"/>
            <a:ext cx="7197726" cy="2421464"/>
          </a:xfrm>
        </p:spPr>
        <p:txBody>
          <a:bodyPr anchor="b">
            <a:normAutofit/>
          </a:bodyPr>
          <a:lstStyle>
            <a:lvl1pPr algn="r">
              <a:defRPr sz="4800"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62399" y="4385732"/>
            <a:ext cx="7197726" cy="1405467"/>
          </a:xfrm>
        </p:spPr>
        <p:txBody>
          <a:bodyPr anchor="t">
            <a:normAutofit/>
          </a:bodyPr>
          <a:lstStyle>
            <a:lvl1pPr marL="0" indent="0" algn="r">
              <a:buNone/>
              <a:defRPr sz="1800" cap="all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32558" y="5870575"/>
            <a:ext cx="1600200" cy="377825"/>
          </a:xfrm>
        </p:spPr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962399" y="5870575"/>
            <a:ext cx="4893958" cy="377825"/>
          </a:xfr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08958" y="5870575"/>
            <a:ext cx="551167" cy="377825"/>
          </a:xfrm>
        </p:spPr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591212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732865"/>
            <a:ext cx="1013142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371600" y="932112"/>
            <a:ext cx="8759827" cy="3164976"/>
          </a:xfrm>
          <a:prstGeom prst="roundRect">
            <a:avLst>
              <a:gd name="adj" fmla="val 4380"/>
            </a:avLst>
          </a:prstGeom>
          <a:ln w="50800" cap="sq" cmpd="dbl">
            <a:gradFill flip="none" rotWithShape="1">
              <a:gsLst>
                <a:gs pos="0">
                  <a:srgbClr val="FFFFFF"/>
                </a:gs>
                <a:gs pos="100000">
                  <a:schemeClr val="tx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5299603"/>
            <a:ext cx="10131427" cy="49371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584832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1" y="609601"/>
            <a:ext cx="10131427" cy="3124199"/>
          </a:xfrm>
        </p:spPr>
        <p:txBody>
          <a:bodyPr anchor="ctr">
            <a:normAutofit/>
          </a:bodyPr>
          <a:lstStyle>
            <a:lvl1pPr algn="l">
              <a:defRPr sz="32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10131428" cy="1447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093612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0237867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88275" y="823337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2267" y="609601"/>
            <a:ext cx="9550399" cy="2743199"/>
          </a:xfrm>
        </p:spPr>
        <p:txBody>
          <a:bodyPr anchor="ctr">
            <a:normAutofit/>
          </a:bodyPr>
          <a:lstStyle>
            <a:lvl1pPr algn="l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97875" y="3352800"/>
            <a:ext cx="9339184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7465" y="4343400"/>
            <a:ext cx="10152367" cy="1447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493256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2" y="3308581"/>
            <a:ext cx="10131425" cy="1468800"/>
          </a:xfrm>
        </p:spPr>
        <p:txBody>
          <a:bodyPr anchor="b">
            <a:normAutofit/>
          </a:bodyPr>
          <a:lstStyle>
            <a:lvl1pPr algn="l">
              <a:defRPr sz="32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1" y="4777381"/>
            <a:ext cx="10131426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062519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0237867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88275" y="823337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992267" y="609601"/>
            <a:ext cx="9550399" cy="2743199"/>
          </a:xfrm>
        </p:spPr>
        <p:txBody>
          <a:bodyPr anchor="ctr">
            <a:normAutofit/>
          </a:bodyPr>
          <a:lstStyle>
            <a:lvl1pPr algn="l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5800" y="3886200"/>
            <a:ext cx="10135436" cy="889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799" y="4775200"/>
            <a:ext cx="10135436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419728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1" y="609601"/>
            <a:ext cx="10131427" cy="2743199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5801" y="3505200"/>
            <a:ext cx="10131428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10131428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311661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85801" y="609600"/>
            <a:ext cx="10131425" cy="145626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50306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58675" y="609599"/>
            <a:ext cx="2158552" cy="518160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7832116" cy="5181600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956488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822022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308581"/>
            <a:ext cx="10131427" cy="1468800"/>
          </a:xfrm>
        </p:spPr>
        <p:txBody>
          <a:bodyPr anchor="b"/>
          <a:lstStyle>
            <a:lvl1pPr algn="l">
              <a:defRPr sz="40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799" y="4777381"/>
            <a:ext cx="10131428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 cap="all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331132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2" y="2142067"/>
            <a:ext cx="4995334" cy="3649134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21895" y="2142067"/>
            <a:ext cx="4995332" cy="3649133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629293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3670" y="2218267"/>
            <a:ext cx="470905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1" y="2870201"/>
            <a:ext cx="4996923" cy="2920998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96003" y="2226734"/>
            <a:ext cx="4722813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23483" y="2870201"/>
            <a:ext cx="4995334" cy="2920998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80916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709831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351446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074333"/>
            <a:ext cx="3680885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8201" y="609601"/>
            <a:ext cx="6169026" cy="5181600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3445933"/>
            <a:ext cx="3680885" cy="1828800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53027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600200"/>
            <a:ext cx="6164653" cy="13716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536253" y="914400"/>
            <a:ext cx="3280974" cy="4572000"/>
          </a:xfrm>
          <a:prstGeom prst="roundRect">
            <a:avLst>
              <a:gd name="adj" fmla="val 4280"/>
            </a:avLst>
          </a:prstGeom>
          <a:ln w="50800" cap="sq" cmpd="dbl">
            <a:gradFill flip="none" rotWithShape="1">
              <a:gsLst>
                <a:gs pos="0">
                  <a:srgbClr val="FFFFFF"/>
                </a:gs>
                <a:gs pos="100000">
                  <a:schemeClr val="tx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2971800"/>
            <a:ext cx="6164653" cy="1828800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860841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1" y="609600"/>
            <a:ext cx="10131425" cy="14562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1" y="2142067"/>
            <a:ext cx="10131425" cy="36491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589660" y="5870575"/>
            <a:ext cx="1600200" cy="377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2CA09ED-00E1-48A1-A46D-444D2CA76DC6}" type="datetimeFigureOut">
              <a:rPr lang="en-IN" smtClean="0"/>
              <a:t>09-02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5870575"/>
            <a:ext cx="7827659" cy="377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66060" y="5870575"/>
            <a:ext cx="551167" cy="377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4AAACA60-61EE-497D-9DCF-41BDB11FB2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541400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8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6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notesSlide" Target="../notesSlides/notesSlide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slideLayout" Target="../slideLayouts/slideLayout1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CDD2DB-E30B-C3E1-7D26-56402536B3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98212" y="1964267"/>
            <a:ext cx="9561913" cy="2421464"/>
          </a:xfrm>
        </p:spPr>
        <p:txBody>
          <a:bodyPr/>
          <a:lstStyle/>
          <a:p>
            <a:r>
              <a:rPr lang="en-IN" dirty="0"/>
              <a:t>CREATING Cloud Migration Strateg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244EC1-2956-49F2-334E-0B84B9C83C4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IN" dirty="0"/>
              <a:t>                                                                         Phani Kishore Lanka</a:t>
            </a:r>
          </a:p>
        </p:txBody>
      </p:sp>
    </p:spTree>
    <p:extLst>
      <p:ext uri="{BB962C8B-B14F-4D97-AF65-F5344CB8AC3E}">
        <p14:creationId xmlns:p14="http://schemas.microsoft.com/office/powerpoint/2010/main" val="5006851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377D18-5F45-DC97-A1B7-EB06A573AE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234" y="2700866"/>
            <a:ext cx="3633348" cy="1456267"/>
          </a:xfrm>
        </p:spPr>
        <p:txBody>
          <a:bodyPr/>
          <a:lstStyle/>
          <a:p>
            <a:r>
              <a:rPr lang="en-IN" dirty="0"/>
              <a:t>Requirement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1E01FC5-02D6-3CAA-74F7-2505F2440A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7864" y="828849"/>
            <a:ext cx="5450794" cy="4923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724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E2DB39-8685-79A5-EA4A-F5BBFFF254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Key Poi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BA9B29-8EFC-E045-39A0-347C6B9EE4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1" y="2170501"/>
            <a:ext cx="5349239" cy="2669175"/>
          </a:xfrm>
        </p:spPr>
        <p:txBody>
          <a:bodyPr>
            <a:normAutofit/>
          </a:bodyPr>
          <a:lstStyle/>
          <a:p>
            <a:r>
              <a:rPr lang="en-US" dirty="0"/>
              <a:t>Giving Presentation in CIO’s office. </a:t>
            </a:r>
          </a:p>
          <a:p>
            <a:r>
              <a:rPr lang="en-US" dirty="0"/>
              <a:t>Zantech is 2nd Largest Food and Beverage Business, Revenue of close to $50 billion </a:t>
            </a:r>
          </a:p>
          <a:p>
            <a:r>
              <a:rPr lang="en-US" dirty="0"/>
              <a:t>Companies products distributed across 200+ countries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C0EC7BC-3CA3-67E5-FAE5-0A58A0AE5EB5}"/>
              </a:ext>
            </a:extLst>
          </p:cNvPr>
          <p:cNvSpPr txBox="1"/>
          <p:nvPr/>
        </p:nvSpPr>
        <p:spPr>
          <a:xfrm>
            <a:off x="6093348" y="2531352"/>
            <a:ext cx="4951675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pps is Highly Business critical and Revenue Generating, 0 downtim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pps are global and require less latency and resilie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istributed environment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quirement of High Security / High Performance/ High Availability / Performance / Resilient </a:t>
            </a:r>
          </a:p>
        </p:txBody>
      </p:sp>
    </p:spTree>
    <p:extLst>
      <p:ext uri="{BB962C8B-B14F-4D97-AF65-F5344CB8AC3E}">
        <p14:creationId xmlns:p14="http://schemas.microsoft.com/office/powerpoint/2010/main" val="39229578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Content Placeholder 3"/>
          <p:cNvPicPr>
            <a:picLocks noChangeAspect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9585" y="1511112"/>
            <a:ext cx="10952831" cy="513677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1200250" y="315304"/>
            <a:ext cx="6557169" cy="613573"/>
          </a:xfrm>
        </p:spPr>
        <p:txBody>
          <a:bodyPr>
            <a:normAutofit fontScale="90000"/>
          </a:bodyPr>
          <a:lstStyle/>
          <a:p>
            <a:r>
              <a:rPr lang="en-US" dirty="0"/>
              <a:t> MIGRATION Roadmap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646431" y="4102541"/>
            <a:ext cx="1891672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2DA2B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ert your text her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352093" y="2838658"/>
            <a:ext cx="1891672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A1F2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ert your text her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486888" y="2196452"/>
            <a:ext cx="1891672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EB641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ert your text her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078335" y="1672207"/>
            <a:ext cx="1891672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39639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ert your text her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232128" y="1203678"/>
            <a:ext cx="1891672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474B7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ert your text her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0" name="POWER_USER_ID_ICONS_Advocacy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5868629" y="4269842"/>
            <a:ext cx="588818" cy="679739"/>
            <a:chOff x="8" y="8"/>
            <a:chExt cx="408" cy="471"/>
          </a:xfrm>
          <a:solidFill>
            <a:schemeClr val="accent1"/>
          </a:solidFill>
        </p:grpSpPr>
        <p:sp>
          <p:nvSpPr>
            <p:cNvPr id="21" name="POWER_USER_ID_ICONS_Advocacy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85" y="298"/>
              <a:ext cx="37" cy="3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POWER_USER_ID_ICONS_Advocacy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0" y="298"/>
              <a:ext cx="37" cy="3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POWER_USER_ID_ICONS_Advocacy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21" y="264"/>
              <a:ext cx="56" cy="5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POWER_USER_ID_ICONS_Advocacy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95" y="345"/>
              <a:ext cx="39" cy="86"/>
            </a:xfrm>
            <a:custGeom>
              <a:avLst/>
              <a:gdLst>
                <a:gd name="T0" fmla="*/ 103 w 103"/>
                <a:gd name="T1" fmla="*/ 229 h 229"/>
                <a:gd name="T2" fmla="*/ 20 w 103"/>
                <a:gd name="T3" fmla="*/ 229 h 229"/>
                <a:gd name="T4" fmla="*/ 20 w 103"/>
                <a:gd name="T5" fmla="*/ 76 h 229"/>
                <a:gd name="T6" fmla="*/ 0 w 103"/>
                <a:gd name="T7" fmla="*/ 4 h 229"/>
                <a:gd name="T8" fmla="*/ 23 w 103"/>
                <a:gd name="T9" fmla="*/ 0 h 229"/>
                <a:gd name="T10" fmla="*/ 103 w 103"/>
                <a:gd name="T11" fmla="*/ 81 h 229"/>
                <a:gd name="T12" fmla="*/ 103 w 103"/>
                <a:gd name="T13" fmla="*/ 22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229">
                  <a:moveTo>
                    <a:pt x="103" y="229"/>
                  </a:moveTo>
                  <a:lnTo>
                    <a:pt x="20" y="229"/>
                  </a:lnTo>
                  <a:lnTo>
                    <a:pt x="20" y="76"/>
                  </a:lnTo>
                  <a:cubicBezTo>
                    <a:pt x="20" y="50"/>
                    <a:pt x="12" y="25"/>
                    <a:pt x="0" y="4"/>
                  </a:cubicBezTo>
                  <a:cubicBezTo>
                    <a:pt x="7" y="2"/>
                    <a:pt x="15" y="0"/>
                    <a:pt x="23" y="0"/>
                  </a:cubicBezTo>
                  <a:cubicBezTo>
                    <a:pt x="67" y="0"/>
                    <a:pt x="103" y="36"/>
                    <a:pt x="103" y="81"/>
                  </a:cubicBezTo>
                  <a:lnTo>
                    <a:pt x="103" y="22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POWER_USER_ID_ICONS_Advocacy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66" y="264"/>
              <a:ext cx="55" cy="5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POWER_USER_ID_ICONS_Advocacy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8" y="345"/>
              <a:ext cx="39" cy="86"/>
            </a:xfrm>
            <a:custGeom>
              <a:avLst/>
              <a:gdLst>
                <a:gd name="T0" fmla="*/ 81 w 104"/>
                <a:gd name="T1" fmla="*/ 0 h 229"/>
                <a:gd name="T2" fmla="*/ 104 w 104"/>
                <a:gd name="T3" fmla="*/ 4 h 229"/>
                <a:gd name="T4" fmla="*/ 83 w 104"/>
                <a:gd name="T5" fmla="*/ 76 h 229"/>
                <a:gd name="T6" fmla="*/ 83 w 104"/>
                <a:gd name="T7" fmla="*/ 229 h 229"/>
                <a:gd name="T8" fmla="*/ 0 w 104"/>
                <a:gd name="T9" fmla="*/ 229 h 229"/>
                <a:gd name="T10" fmla="*/ 0 w 104"/>
                <a:gd name="T11" fmla="*/ 81 h 229"/>
                <a:gd name="T12" fmla="*/ 81 w 104"/>
                <a:gd name="T13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229">
                  <a:moveTo>
                    <a:pt x="81" y="0"/>
                  </a:moveTo>
                  <a:cubicBezTo>
                    <a:pt x="89" y="0"/>
                    <a:pt x="96" y="2"/>
                    <a:pt x="104" y="4"/>
                  </a:cubicBezTo>
                  <a:cubicBezTo>
                    <a:pt x="91" y="25"/>
                    <a:pt x="83" y="50"/>
                    <a:pt x="83" y="76"/>
                  </a:cubicBezTo>
                  <a:lnTo>
                    <a:pt x="83" y="229"/>
                  </a:lnTo>
                  <a:lnTo>
                    <a:pt x="0" y="229"/>
                  </a:lnTo>
                  <a:lnTo>
                    <a:pt x="0" y="81"/>
                  </a:lnTo>
                  <a:cubicBezTo>
                    <a:pt x="0" y="36"/>
                    <a:pt x="36" y="0"/>
                    <a:pt x="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POWER_USER_ID_ICONS_Advocacy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130" y="209"/>
              <a:ext cx="82" cy="82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POWER_USER_ID_ICONS_Advocacy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36" y="330"/>
              <a:ext cx="57" cy="123"/>
            </a:xfrm>
            <a:custGeom>
              <a:avLst/>
              <a:gdLst>
                <a:gd name="T0" fmla="*/ 150 w 150"/>
                <a:gd name="T1" fmla="*/ 327 h 327"/>
                <a:gd name="T2" fmla="*/ 22 w 150"/>
                <a:gd name="T3" fmla="*/ 327 h 327"/>
                <a:gd name="T4" fmla="*/ 22 w 150"/>
                <a:gd name="T5" fmla="*/ 94 h 327"/>
                <a:gd name="T6" fmla="*/ 0 w 150"/>
                <a:gd name="T7" fmla="*/ 5 h 327"/>
                <a:gd name="T8" fmla="*/ 33 w 150"/>
                <a:gd name="T9" fmla="*/ 0 h 327"/>
                <a:gd name="T10" fmla="*/ 150 w 150"/>
                <a:gd name="T11" fmla="*/ 117 h 327"/>
                <a:gd name="T12" fmla="*/ 150 w 150"/>
                <a:gd name="T13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327">
                  <a:moveTo>
                    <a:pt x="150" y="327"/>
                  </a:moveTo>
                  <a:lnTo>
                    <a:pt x="22" y="327"/>
                  </a:lnTo>
                  <a:lnTo>
                    <a:pt x="22" y="94"/>
                  </a:lnTo>
                  <a:cubicBezTo>
                    <a:pt x="22" y="62"/>
                    <a:pt x="14" y="32"/>
                    <a:pt x="0" y="5"/>
                  </a:cubicBezTo>
                  <a:cubicBezTo>
                    <a:pt x="11" y="2"/>
                    <a:pt x="22" y="0"/>
                    <a:pt x="33" y="0"/>
                  </a:cubicBezTo>
                  <a:cubicBezTo>
                    <a:pt x="98" y="0"/>
                    <a:pt x="150" y="52"/>
                    <a:pt x="150" y="117"/>
                  </a:cubicBezTo>
                  <a:lnTo>
                    <a:pt x="150" y="3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POWER_USER_ID_ICONS_Advocacy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49" y="330"/>
              <a:ext cx="57" cy="123"/>
            </a:xfrm>
            <a:custGeom>
              <a:avLst/>
              <a:gdLst>
                <a:gd name="T0" fmla="*/ 128 w 150"/>
                <a:gd name="T1" fmla="*/ 94 h 327"/>
                <a:gd name="T2" fmla="*/ 128 w 150"/>
                <a:gd name="T3" fmla="*/ 327 h 327"/>
                <a:gd name="T4" fmla="*/ 0 w 150"/>
                <a:gd name="T5" fmla="*/ 327 h 327"/>
                <a:gd name="T6" fmla="*/ 0 w 150"/>
                <a:gd name="T7" fmla="*/ 117 h 327"/>
                <a:gd name="T8" fmla="*/ 117 w 150"/>
                <a:gd name="T9" fmla="*/ 0 h 327"/>
                <a:gd name="T10" fmla="*/ 150 w 150"/>
                <a:gd name="T11" fmla="*/ 5 h 327"/>
                <a:gd name="T12" fmla="*/ 128 w 150"/>
                <a:gd name="T13" fmla="*/ 94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327">
                  <a:moveTo>
                    <a:pt x="128" y="94"/>
                  </a:moveTo>
                  <a:lnTo>
                    <a:pt x="128" y="327"/>
                  </a:lnTo>
                  <a:lnTo>
                    <a:pt x="0" y="327"/>
                  </a:lnTo>
                  <a:lnTo>
                    <a:pt x="0" y="117"/>
                  </a:lnTo>
                  <a:cubicBezTo>
                    <a:pt x="0" y="52"/>
                    <a:pt x="53" y="0"/>
                    <a:pt x="117" y="0"/>
                  </a:cubicBezTo>
                  <a:cubicBezTo>
                    <a:pt x="129" y="0"/>
                    <a:pt x="139" y="2"/>
                    <a:pt x="150" y="5"/>
                  </a:cubicBezTo>
                  <a:cubicBezTo>
                    <a:pt x="136" y="32"/>
                    <a:pt x="128" y="62"/>
                    <a:pt x="128" y="9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POWER_USER_ID_ICONS_Advocacy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107" y="301"/>
              <a:ext cx="128" cy="178"/>
            </a:xfrm>
            <a:custGeom>
              <a:avLst/>
              <a:gdLst>
                <a:gd name="T0" fmla="*/ 0 w 340"/>
                <a:gd name="T1" fmla="*/ 471 h 471"/>
                <a:gd name="T2" fmla="*/ 340 w 340"/>
                <a:gd name="T3" fmla="*/ 471 h 471"/>
                <a:gd name="T4" fmla="*/ 340 w 340"/>
                <a:gd name="T5" fmla="*/ 170 h 471"/>
                <a:gd name="T6" fmla="*/ 170 w 340"/>
                <a:gd name="T7" fmla="*/ 0 h 471"/>
                <a:gd name="T8" fmla="*/ 0 w 340"/>
                <a:gd name="T9" fmla="*/ 170 h 471"/>
                <a:gd name="T10" fmla="*/ 0 w 340"/>
                <a:gd name="T11" fmla="*/ 471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0" h="471">
                  <a:moveTo>
                    <a:pt x="0" y="471"/>
                  </a:moveTo>
                  <a:lnTo>
                    <a:pt x="340" y="471"/>
                  </a:lnTo>
                  <a:lnTo>
                    <a:pt x="340" y="170"/>
                  </a:lnTo>
                  <a:cubicBezTo>
                    <a:pt x="340" y="76"/>
                    <a:pt x="264" y="0"/>
                    <a:pt x="170" y="0"/>
                  </a:cubicBezTo>
                  <a:cubicBezTo>
                    <a:pt x="76" y="0"/>
                    <a:pt x="0" y="76"/>
                    <a:pt x="0" y="170"/>
                  </a:cubicBezTo>
                  <a:lnTo>
                    <a:pt x="0" y="47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POWER_USER_ID_ICONS_Advocacy"/>
            <p:cNvSpPr>
              <a:spLocks noEditPoints="1"/>
            </p:cNvSpPr>
            <p:nvPr>
              <p:custDataLst>
                <p:tags r:id="rId27"/>
              </p:custDataLst>
            </p:nvPr>
          </p:nvSpPr>
          <p:spPr bwMode="auto">
            <a:xfrm>
              <a:off x="163" y="8"/>
              <a:ext cx="253" cy="230"/>
            </a:xfrm>
            <a:custGeom>
              <a:avLst/>
              <a:gdLst>
                <a:gd name="T0" fmla="*/ 551 w 675"/>
                <a:gd name="T1" fmla="*/ 0 h 611"/>
                <a:gd name="T2" fmla="*/ 123 w 675"/>
                <a:gd name="T3" fmla="*/ 0 h 611"/>
                <a:gd name="T4" fmla="*/ 0 w 675"/>
                <a:gd name="T5" fmla="*/ 123 h 611"/>
                <a:gd name="T6" fmla="*/ 0 w 675"/>
                <a:gd name="T7" fmla="*/ 326 h 611"/>
                <a:gd name="T8" fmla="*/ 123 w 675"/>
                <a:gd name="T9" fmla="*/ 449 h 611"/>
                <a:gd name="T10" fmla="*/ 167 w 675"/>
                <a:gd name="T11" fmla="*/ 449 h 611"/>
                <a:gd name="T12" fmla="*/ 167 w 675"/>
                <a:gd name="T13" fmla="*/ 611 h 611"/>
                <a:gd name="T14" fmla="*/ 329 w 675"/>
                <a:gd name="T15" fmla="*/ 449 h 611"/>
                <a:gd name="T16" fmla="*/ 551 w 675"/>
                <a:gd name="T17" fmla="*/ 449 h 611"/>
                <a:gd name="T18" fmla="*/ 675 w 675"/>
                <a:gd name="T19" fmla="*/ 326 h 611"/>
                <a:gd name="T20" fmla="*/ 675 w 675"/>
                <a:gd name="T21" fmla="*/ 123 h 611"/>
                <a:gd name="T22" fmla="*/ 551 w 675"/>
                <a:gd name="T23" fmla="*/ 0 h 611"/>
                <a:gd name="T24" fmla="*/ 630 w 675"/>
                <a:gd name="T25" fmla="*/ 326 h 611"/>
                <a:gd name="T26" fmla="*/ 551 w 675"/>
                <a:gd name="T27" fmla="*/ 405 h 611"/>
                <a:gd name="T28" fmla="*/ 311 w 675"/>
                <a:gd name="T29" fmla="*/ 405 h 611"/>
                <a:gd name="T30" fmla="*/ 212 w 675"/>
                <a:gd name="T31" fmla="*/ 504 h 611"/>
                <a:gd name="T32" fmla="*/ 212 w 675"/>
                <a:gd name="T33" fmla="*/ 405 h 611"/>
                <a:gd name="T34" fmla="*/ 123 w 675"/>
                <a:gd name="T35" fmla="*/ 405 h 611"/>
                <a:gd name="T36" fmla="*/ 44 w 675"/>
                <a:gd name="T37" fmla="*/ 326 h 611"/>
                <a:gd name="T38" fmla="*/ 44 w 675"/>
                <a:gd name="T39" fmla="*/ 123 h 611"/>
                <a:gd name="T40" fmla="*/ 123 w 675"/>
                <a:gd name="T41" fmla="*/ 44 h 611"/>
                <a:gd name="T42" fmla="*/ 551 w 675"/>
                <a:gd name="T43" fmla="*/ 44 h 611"/>
                <a:gd name="T44" fmla="*/ 630 w 675"/>
                <a:gd name="T45" fmla="*/ 123 h 611"/>
                <a:gd name="T46" fmla="*/ 630 w 675"/>
                <a:gd name="T47" fmla="*/ 326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5" h="611">
                  <a:moveTo>
                    <a:pt x="551" y="0"/>
                  </a:moveTo>
                  <a:lnTo>
                    <a:pt x="123" y="0"/>
                  </a:lnTo>
                  <a:cubicBezTo>
                    <a:pt x="55" y="0"/>
                    <a:pt x="0" y="55"/>
                    <a:pt x="0" y="123"/>
                  </a:cubicBezTo>
                  <a:lnTo>
                    <a:pt x="0" y="326"/>
                  </a:lnTo>
                  <a:cubicBezTo>
                    <a:pt x="0" y="394"/>
                    <a:pt x="55" y="449"/>
                    <a:pt x="123" y="449"/>
                  </a:cubicBezTo>
                  <a:lnTo>
                    <a:pt x="167" y="449"/>
                  </a:lnTo>
                  <a:lnTo>
                    <a:pt x="167" y="611"/>
                  </a:lnTo>
                  <a:lnTo>
                    <a:pt x="329" y="449"/>
                  </a:lnTo>
                  <a:lnTo>
                    <a:pt x="551" y="449"/>
                  </a:lnTo>
                  <a:cubicBezTo>
                    <a:pt x="619" y="449"/>
                    <a:pt x="675" y="394"/>
                    <a:pt x="675" y="326"/>
                  </a:cubicBezTo>
                  <a:lnTo>
                    <a:pt x="675" y="123"/>
                  </a:lnTo>
                  <a:cubicBezTo>
                    <a:pt x="675" y="55"/>
                    <a:pt x="619" y="0"/>
                    <a:pt x="551" y="0"/>
                  </a:cubicBezTo>
                  <a:close/>
                  <a:moveTo>
                    <a:pt x="630" y="326"/>
                  </a:moveTo>
                  <a:cubicBezTo>
                    <a:pt x="630" y="370"/>
                    <a:pt x="595" y="405"/>
                    <a:pt x="551" y="405"/>
                  </a:cubicBezTo>
                  <a:lnTo>
                    <a:pt x="311" y="405"/>
                  </a:lnTo>
                  <a:lnTo>
                    <a:pt x="212" y="504"/>
                  </a:lnTo>
                  <a:lnTo>
                    <a:pt x="212" y="405"/>
                  </a:lnTo>
                  <a:lnTo>
                    <a:pt x="123" y="405"/>
                  </a:lnTo>
                  <a:cubicBezTo>
                    <a:pt x="80" y="405"/>
                    <a:pt x="44" y="370"/>
                    <a:pt x="44" y="326"/>
                  </a:cubicBezTo>
                  <a:lnTo>
                    <a:pt x="44" y="123"/>
                  </a:lnTo>
                  <a:cubicBezTo>
                    <a:pt x="44" y="80"/>
                    <a:pt x="80" y="44"/>
                    <a:pt x="123" y="44"/>
                  </a:cubicBezTo>
                  <a:lnTo>
                    <a:pt x="551" y="44"/>
                  </a:lnTo>
                  <a:cubicBezTo>
                    <a:pt x="595" y="44"/>
                    <a:pt x="630" y="80"/>
                    <a:pt x="630" y="123"/>
                  </a:cubicBezTo>
                  <a:lnTo>
                    <a:pt x="630" y="32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" name="POWER_USER_ID_ICONS_Government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582304" y="3043541"/>
            <a:ext cx="585788" cy="584200"/>
            <a:chOff x="35" y="39"/>
            <a:chExt cx="369" cy="368"/>
          </a:xfrm>
          <a:solidFill>
            <a:schemeClr val="accent2"/>
          </a:solidFill>
        </p:grpSpPr>
        <p:sp>
          <p:nvSpPr>
            <p:cNvPr id="34" name="POWER_USER_ID_ICONS_Government"/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auto">
            <a:xfrm>
              <a:off x="35" y="134"/>
              <a:ext cx="369" cy="273"/>
            </a:xfrm>
            <a:custGeom>
              <a:avLst/>
              <a:gdLst>
                <a:gd name="T0" fmla="*/ 207 w 218"/>
                <a:gd name="T1" fmla="*/ 117 h 161"/>
                <a:gd name="T2" fmla="*/ 189 w 218"/>
                <a:gd name="T3" fmla="*/ 117 h 161"/>
                <a:gd name="T4" fmla="*/ 189 w 218"/>
                <a:gd name="T5" fmla="*/ 22 h 161"/>
                <a:gd name="T6" fmla="*/ 207 w 218"/>
                <a:gd name="T7" fmla="*/ 22 h 161"/>
                <a:gd name="T8" fmla="*/ 207 w 218"/>
                <a:gd name="T9" fmla="*/ 0 h 161"/>
                <a:gd name="T10" fmla="*/ 13 w 218"/>
                <a:gd name="T11" fmla="*/ 0 h 161"/>
                <a:gd name="T12" fmla="*/ 13 w 218"/>
                <a:gd name="T13" fmla="*/ 22 h 161"/>
                <a:gd name="T14" fmla="*/ 27 w 218"/>
                <a:gd name="T15" fmla="*/ 22 h 161"/>
                <a:gd name="T16" fmla="*/ 27 w 218"/>
                <a:gd name="T17" fmla="*/ 117 h 161"/>
                <a:gd name="T18" fmla="*/ 13 w 218"/>
                <a:gd name="T19" fmla="*/ 117 h 161"/>
                <a:gd name="T20" fmla="*/ 13 w 218"/>
                <a:gd name="T21" fmla="*/ 139 h 161"/>
                <a:gd name="T22" fmla="*/ 0 w 218"/>
                <a:gd name="T23" fmla="*/ 139 h 161"/>
                <a:gd name="T24" fmla="*/ 0 w 218"/>
                <a:gd name="T25" fmla="*/ 161 h 161"/>
                <a:gd name="T26" fmla="*/ 218 w 218"/>
                <a:gd name="T27" fmla="*/ 161 h 161"/>
                <a:gd name="T28" fmla="*/ 218 w 218"/>
                <a:gd name="T29" fmla="*/ 139 h 161"/>
                <a:gd name="T30" fmla="*/ 207 w 218"/>
                <a:gd name="T31" fmla="*/ 139 h 161"/>
                <a:gd name="T32" fmla="*/ 207 w 218"/>
                <a:gd name="T33" fmla="*/ 117 h 161"/>
                <a:gd name="T34" fmla="*/ 97 w 218"/>
                <a:gd name="T35" fmla="*/ 117 h 161"/>
                <a:gd name="T36" fmla="*/ 97 w 218"/>
                <a:gd name="T37" fmla="*/ 22 h 161"/>
                <a:gd name="T38" fmla="*/ 120 w 218"/>
                <a:gd name="T39" fmla="*/ 22 h 161"/>
                <a:gd name="T40" fmla="*/ 120 w 218"/>
                <a:gd name="T41" fmla="*/ 117 h 161"/>
                <a:gd name="T42" fmla="*/ 97 w 218"/>
                <a:gd name="T43" fmla="*/ 117 h 161"/>
                <a:gd name="T44" fmla="*/ 167 w 218"/>
                <a:gd name="T45" fmla="*/ 117 h 161"/>
                <a:gd name="T46" fmla="*/ 143 w 218"/>
                <a:gd name="T47" fmla="*/ 117 h 161"/>
                <a:gd name="T48" fmla="*/ 143 w 218"/>
                <a:gd name="T49" fmla="*/ 22 h 161"/>
                <a:gd name="T50" fmla="*/ 167 w 218"/>
                <a:gd name="T51" fmla="*/ 22 h 161"/>
                <a:gd name="T52" fmla="*/ 167 w 218"/>
                <a:gd name="T53" fmla="*/ 117 h 161"/>
                <a:gd name="T54" fmla="*/ 49 w 218"/>
                <a:gd name="T55" fmla="*/ 22 h 161"/>
                <a:gd name="T56" fmla="*/ 73 w 218"/>
                <a:gd name="T57" fmla="*/ 22 h 161"/>
                <a:gd name="T58" fmla="*/ 73 w 218"/>
                <a:gd name="T59" fmla="*/ 117 h 161"/>
                <a:gd name="T60" fmla="*/ 49 w 218"/>
                <a:gd name="T61" fmla="*/ 117 h 161"/>
                <a:gd name="T62" fmla="*/ 49 w 218"/>
                <a:gd name="T63" fmla="*/ 22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8" h="161">
                  <a:moveTo>
                    <a:pt x="207" y="117"/>
                  </a:moveTo>
                  <a:lnTo>
                    <a:pt x="189" y="117"/>
                  </a:lnTo>
                  <a:lnTo>
                    <a:pt x="189" y="22"/>
                  </a:lnTo>
                  <a:lnTo>
                    <a:pt x="207" y="22"/>
                  </a:lnTo>
                  <a:lnTo>
                    <a:pt x="207" y="0"/>
                  </a:lnTo>
                  <a:lnTo>
                    <a:pt x="13" y="0"/>
                  </a:lnTo>
                  <a:lnTo>
                    <a:pt x="13" y="22"/>
                  </a:lnTo>
                  <a:lnTo>
                    <a:pt x="27" y="22"/>
                  </a:lnTo>
                  <a:lnTo>
                    <a:pt x="27" y="117"/>
                  </a:lnTo>
                  <a:lnTo>
                    <a:pt x="13" y="117"/>
                  </a:lnTo>
                  <a:lnTo>
                    <a:pt x="13" y="139"/>
                  </a:lnTo>
                  <a:lnTo>
                    <a:pt x="0" y="139"/>
                  </a:lnTo>
                  <a:lnTo>
                    <a:pt x="0" y="161"/>
                  </a:lnTo>
                  <a:lnTo>
                    <a:pt x="218" y="161"/>
                  </a:lnTo>
                  <a:lnTo>
                    <a:pt x="218" y="139"/>
                  </a:lnTo>
                  <a:lnTo>
                    <a:pt x="207" y="139"/>
                  </a:lnTo>
                  <a:lnTo>
                    <a:pt x="207" y="117"/>
                  </a:lnTo>
                  <a:close/>
                  <a:moveTo>
                    <a:pt x="97" y="117"/>
                  </a:moveTo>
                  <a:lnTo>
                    <a:pt x="97" y="22"/>
                  </a:lnTo>
                  <a:lnTo>
                    <a:pt x="120" y="22"/>
                  </a:lnTo>
                  <a:lnTo>
                    <a:pt x="120" y="117"/>
                  </a:lnTo>
                  <a:lnTo>
                    <a:pt x="97" y="117"/>
                  </a:lnTo>
                  <a:close/>
                  <a:moveTo>
                    <a:pt x="167" y="117"/>
                  </a:moveTo>
                  <a:lnTo>
                    <a:pt x="143" y="117"/>
                  </a:lnTo>
                  <a:lnTo>
                    <a:pt x="143" y="22"/>
                  </a:lnTo>
                  <a:lnTo>
                    <a:pt x="167" y="22"/>
                  </a:lnTo>
                  <a:lnTo>
                    <a:pt x="167" y="117"/>
                  </a:lnTo>
                  <a:close/>
                  <a:moveTo>
                    <a:pt x="49" y="22"/>
                  </a:moveTo>
                  <a:lnTo>
                    <a:pt x="73" y="22"/>
                  </a:lnTo>
                  <a:lnTo>
                    <a:pt x="73" y="117"/>
                  </a:lnTo>
                  <a:lnTo>
                    <a:pt x="49" y="117"/>
                  </a:lnTo>
                  <a:lnTo>
                    <a:pt x="49" y="2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POWER_USER_ID_ICONS_Government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35" y="39"/>
              <a:ext cx="369" cy="84"/>
            </a:xfrm>
            <a:custGeom>
              <a:avLst/>
              <a:gdLst>
                <a:gd name="T0" fmla="*/ 218 w 218"/>
                <a:gd name="T1" fmla="*/ 27 h 50"/>
                <a:gd name="T2" fmla="*/ 218 w 218"/>
                <a:gd name="T3" fmla="*/ 27 h 50"/>
                <a:gd name="T4" fmla="*/ 218 w 218"/>
                <a:gd name="T5" fmla="*/ 27 h 50"/>
                <a:gd name="T6" fmla="*/ 218 w 218"/>
                <a:gd name="T7" fmla="*/ 27 h 50"/>
                <a:gd name="T8" fmla="*/ 109 w 218"/>
                <a:gd name="T9" fmla="*/ 0 h 50"/>
                <a:gd name="T10" fmla="*/ 0 w 218"/>
                <a:gd name="T11" fmla="*/ 27 h 50"/>
                <a:gd name="T12" fmla="*/ 0 w 218"/>
                <a:gd name="T13" fmla="*/ 27 h 50"/>
                <a:gd name="T14" fmla="*/ 0 w 218"/>
                <a:gd name="T15" fmla="*/ 27 h 50"/>
                <a:gd name="T16" fmla="*/ 0 w 218"/>
                <a:gd name="T17" fmla="*/ 27 h 50"/>
                <a:gd name="T18" fmla="*/ 0 w 218"/>
                <a:gd name="T19" fmla="*/ 27 h 50"/>
                <a:gd name="T20" fmla="*/ 0 w 218"/>
                <a:gd name="T21" fmla="*/ 50 h 50"/>
                <a:gd name="T22" fmla="*/ 218 w 218"/>
                <a:gd name="T23" fmla="*/ 50 h 50"/>
                <a:gd name="T24" fmla="*/ 218 w 218"/>
                <a:gd name="T2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8" h="50">
                  <a:moveTo>
                    <a:pt x="218" y="27"/>
                  </a:moveTo>
                  <a:lnTo>
                    <a:pt x="218" y="27"/>
                  </a:lnTo>
                  <a:lnTo>
                    <a:pt x="218" y="27"/>
                  </a:lnTo>
                  <a:lnTo>
                    <a:pt x="218" y="27"/>
                  </a:lnTo>
                  <a:lnTo>
                    <a:pt x="109" y="0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50"/>
                  </a:lnTo>
                  <a:lnTo>
                    <a:pt x="218" y="50"/>
                  </a:lnTo>
                  <a:lnTo>
                    <a:pt x="218" y="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6" name="POWER_USER_ID_ICONS_Earth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5801661" y="2047250"/>
            <a:ext cx="504517" cy="504517"/>
            <a:chOff x="31" y="32"/>
            <a:chExt cx="423" cy="423"/>
          </a:xfrm>
          <a:solidFill>
            <a:schemeClr val="accent3"/>
          </a:solidFill>
        </p:grpSpPr>
        <p:sp>
          <p:nvSpPr>
            <p:cNvPr id="37" name="POWER_USER_ID_ICONS_Earth2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355" y="163"/>
              <a:ext cx="33" cy="20"/>
            </a:xfrm>
            <a:custGeom>
              <a:avLst/>
              <a:gdLst>
                <a:gd name="T0" fmla="*/ 9 w 88"/>
                <a:gd name="T1" fmla="*/ 53 h 55"/>
                <a:gd name="T2" fmla="*/ 48 w 88"/>
                <a:gd name="T3" fmla="*/ 47 h 55"/>
                <a:gd name="T4" fmla="*/ 77 w 88"/>
                <a:gd name="T5" fmla="*/ 55 h 55"/>
                <a:gd name="T6" fmla="*/ 88 w 88"/>
                <a:gd name="T7" fmla="*/ 35 h 55"/>
                <a:gd name="T8" fmla="*/ 20 w 88"/>
                <a:gd name="T9" fmla="*/ 0 h 55"/>
                <a:gd name="T10" fmla="*/ 0 w 88"/>
                <a:gd name="T11" fmla="*/ 37 h 55"/>
                <a:gd name="T12" fmla="*/ 9 w 88"/>
                <a:gd name="T13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55">
                  <a:moveTo>
                    <a:pt x="9" y="53"/>
                  </a:moveTo>
                  <a:lnTo>
                    <a:pt x="48" y="47"/>
                  </a:lnTo>
                  <a:lnTo>
                    <a:pt x="77" y="55"/>
                  </a:lnTo>
                  <a:lnTo>
                    <a:pt x="88" y="35"/>
                  </a:lnTo>
                  <a:lnTo>
                    <a:pt x="20" y="0"/>
                  </a:lnTo>
                  <a:lnTo>
                    <a:pt x="0" y="37"/>
                  </a:lnTo>
                  <a:lnTo>
                    <a:pt x="9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OWER_USER_ID_ICONS_Earth2"/>
            <p:cNvSpPr>
              <a:spLocks noEditPoints="1"/>
            </p:cNvSpPr>
            <p:nvPr>
              <p:custDataLst>
                <p:tags r:id="rId14"/>
              </p:custDataLst>
            </p:nvPr>
          </p:nvSpPr>
          <p:spPr bwMode="auto">
            <a:xfrm>
              <a:off x="31" y="32"/>
              <a:ext cx="423" cy="423"/>
            </a:xfrm>
            <a:custGeom>
              <a:avLst/>
              <a:gdLst>
                <a:gd name="T0" fmla="*/ 761 w 1126"/>
                <a:gd name="T1" fmla="*/ 35 h 1125"/>
                <a:gd name="T2" fmla="*/ 719 w 1126"/>
                <a:gd name="T3" fmla="*/ 21 h 1125"/>
                <a:gd name="T4" fmla="*/ 656 w 1126"/>
                <a:gd name="T5" fmla="*/ 7 h 1125"/>
                <a:gd name="T6" fmla="*/ 608 w 1126"/>
                <a:gd name="T7" fmla="*/ 1 h 1125"/>
                <a:gd name="T8" fmla="*/ 544 w 1126"/>
                <a:gd name="T9" fmla="*/ 0 h 1125"/>
                <a:gd name="T10" fmla="*/ 506 w 1126"/>
                <a:gd name="T11" fmla="*/ 2 h 1125"/>
                <a:gd name="T12" fmla="*/ 469 w 1126"/>
                <a:gd name="T13" fmla="*/ 7 h 1125"/>
                <a:gd name="T14" fmla="*/ 437 w 1126"/>
                <a:gd name="T15" fmla="*/ 14 h 1125"/>
                <a:gd name="T16" fmla="*/ 400 w 1126"/>
                <a:gd name="T17" fmla="*/ 24 h 1125"/>
                <a:gd name="T18" fmla="*/ 371 w 1126"/>
                <a:gd name="T19" fmla="*/ 33 h 1125"/>
                <a:gd name="T20" fmla="*/ 334 w 1126"/>
                <a:gd name="T21" fmla="*/ 48 h 1125"/>
                <a:gd name="T22" fmla="*/ 308 w 1126"/>
                <a:gd name="T23" fmla="*/ 60 h 1125"/>
                <a:gd name="T24" fmla="*/ 273 w 1126"/>
                <a:gd name="T25" fmla="*/ 80 h 1125"/>
                <a:gd name="T26" fmla="*/ 250 w 1126"/>
                <a:gd name="T27" fmla="*/ 94 h 1125"/>
                <a:gd name="T28" fmla="*/ 218 w 1126"/>
                <a:gd name="T29" fmla="*/ 118 h 1125"/>
                <a:gd name="T30" fmla="*/ 197 w 1126"/>
                <a:gd name="T31" fmla="*/ 135 h 1125"/>
                <a:gd name="T32" fmla="*/ 167 w 1126"/>
                <a:gd name="T33" fmla="*/ 162 h 1125"/>
                <a:gd name="T34" fmla="*/ 48 w 1126"/>
                <a:gd name="T35" fmla="*/ 335 h 1125"/>
                <a:gd name="T36" fmla="*/ 35 w 1126"/>
                <a:gd name="T37" fmla="*/ 367 h 1125"/>
                <a:gd name="T38" fmla="*/ 17 w 1126"/>
                <a:gd name="T39" fmla="*/ 426 h 1125"/>
                <a:gd name="T40" fmla="*/ 9 w 1126"/>
                <a:gd name="T41" fmla="*/ 462 h 1125"/>
                <a:gd name="T42" fmla="*/ 3 w 1126"/>
                <a:gd name="T43" fmla="*/ 508 h 1125"/>
                <a:gd name="T44" fmla="*/ 1 w 1126"/>
                <a:gd name="T45" fmla="*/ 546 h 1125"/>
                <a:gd name="T46" fmla="*/ 1013 w 1126"/>
                <a:gd name="T47" fmla="*/ 344 h 1125"/>
                <a:gd name="T48" fmla="*/ 1015 w 1126"/>
                <a:gd name="T49" fmla="*/ 387 h 1125"/>
                <a:gd name="T50" fmla="*/ 1020 w 1126"/>
                <a:gd name="T51" fmla="*/ 494 h 1125"/>
                <a:gd name="T52" fmla="*/ 1062 w 1126"/>
                <a:gd name="T53" fmla="*/ 532 h 1125"/>
                <a:gd name="T54" fmla="*/ 953 w 1126"/>
                <a:gd name="T55" fmla="*/ 613 h 1125"/>
                <a:gd name="T56" fmla="*/ 916 w 1126"/>
                <a:gd name="T57" fmla="*/ 784 h 1125"/>
                <a:gd name="T58" fmla="*/ 745 w 1126"/>
                <a:gd name="T59" fmla="*/ 639 h 1125"/>
                <a:gd name="T60" fmla="*/ 758 w 1126"/>
                <a:gd name="T61" fmla="*/ 423 h 1125"/>
                <a:gd name="T62" fmla="*/ 903 w 1126"/>
                <a:gd name="T63" fmla="*/ 462 h 1125"/>
                <a:gd name="T64" fmla="*/ 832 w 1126"/>
                <a:gd name="T65" fmla="*/ 431 h 1125"/>
                <a:gd name="T66" fmla="*/ 773 w 1126"/>
                <a:gd name="T67" fmla="*/ 378 h 1125"/>
                <a:gd name="T68" fmla="*/ 709 w 1126"/>
                <a:gd name="T69" fmla="*/ 388 h 1125"/>
                <a:gd name="T70" fmla="*/ 674 w 1126"/>
                <a:gd name="T71" fmla="*/ 349 h 1125"/>
                <a:gd name="T72" fmla="*/ 741 w 1126"/>
                <a:gd name="T73" fmla="*/ 266 h 1125"/>
                <a:gd name="T74" fmla="*/ 846 w 1126"/>
                <a:gd name="T75" fmla="*/ 248 h 1125"/>
                <a:gd name="T76" fmla="*/ 824 w 1126"/>
                <a:gd name="T77" fmla="*/ 186 h 1125"/>
                <a:gd name="T78" fmla="*/ 838 w 1126"/>
                <a:gd name="T79" fmla="*/ 145 h 1125"/>
                <a:gd name="T80" fmla="*/ 999 w 1126"/>
                <a:gd name="T81" fmla="*/ 765 h 1125"/>
                <a:gd name="T82" fmla="*/ 524 w 1126"/>
                <a:gd name="T83" fmla="*/ 177 h 1125"/>
                <a:gd name="T84" fmla="*/ 393 w 1126"/>
                <a:gd name="T85" fmla="*/ 92 h 1125"/>
                <a:gd name="T86" fmla="*/ 812 w 1126"/>
                <a:gd name="T87" fmla="*/ 161 h 1125"/>
                <a:gd name="T88" fmla="*/ 761 w 1126"/>
                <a:gd name="T89" fmla="*/ 219 h 1125"/>
                <a:gd name="T90" fmla="*/ 765 w 1126"/>
                <a:gd name="T91" fmla="*/ 120 h 1125"/>
                <a:gd name="T92" fmla="*/ 631 w 1126"/>
                <a:gd name="T93" fmla="*/ 220 h 1125"/>
                <a:gd name="T94" fmla="*/ 696 w 1126"/>
                <a:gd name="T95" fmla="*/ 246 h 1125"/>
                <a:gd name="T96" fmla="*/ 316 w 1126"/>
                <a:gd name="T97" fmla="*/ 146 h 1125"/>
                <a:gd name="T98" fmla="*/ 316 w 1126"/>
                <a:gd name="T99" fmla="*/ 331 h 1125"/>
                <a:gd name="T100" fmla="*/ 446 w 1126"/>
                <a:gd name="T101" fmla="*/ 382 h 1125"/>
                <a:gd name="T102" fmla="*/ 281 w 1126"/>
                <a:gd name="T103" fmla="*/ 519 h 1125"/>
                <a:gd name="T104" fmla="*/ 238 w 1126"/>
                <a:gd name="T105" fmla="*/ 537 h 1125"/>
                <a:gd name="T106" fmla="*/ 297 w 1126"/>
                <a:gd name="T107" fmla="*/ 606 h 1125"/>
                <a:gd name="T108" fmla="*/ 526 w 1126"/>
                <a:gd name="T109" fmla="*/ 703 h 1125"/>
                <a:gd name="T110" fmla="*/ 316 w 1126"/>
                <a:gd name="T111" fmla="*/ 971 h 1125"/>
                <a:gd name="T112" fmla="*/ 328 w 1126"/>
                <a:gd name="T113" fmla="*/ 758 h 1125"/>
                <a:gd name="T114" fmla="*/ 244 w 1126"/>
                <a:gd name="T115" fmla="*/ 580 h 1125"/>
                <a:gd name="T116" fmla="*/ 86 w 1126"/>
                <a:gd name="T117" fmla="*/ 411 h 1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26" h="1125">
                  <a:moveTo>
                    <a:pt x="839" y="72"/>
                  </a:moveTo>
                  <a:cubicBezTo>
                    <a:pt x="839" y="72"/>
                    <a:pt x="839" y="72"/>
                    <a:pt x="839" y="72"/>
                  </a:cubicBezTo>
                  <a:cubicBezTo>
                    <a:pt x="826" y="65"/>
                    <a:pt x="814" y="58"/>
                    <a:pt x="801" y="52"/>
                  </a:cubicBezTo>
                  <a:cubicBezTo>
                    <a:pt x="801" y="52"/>
                    <a:pt x="800" y="52"/>
                    <a:pt x="800" y="52"/>
                  </a:cubicBezTo>
                  <a:cubicBezTo>
                    <a:pt x="787" y="46"/>
                    <a:pt x="774" y="40"/>
                    <a:pt x="761" y="35"/>
                  </a:cubicBezTo>
                  <a:cubicBezTo>
                    <a:pt x="761" y="35"/>
                    <a:pt x="760" y="35"/>
                    <a:pt x="760" y="35"/>
                  </a:cubicBezTo>
                  <a:cubicBezTo>
                    <a:pt x="753" y="32"/>
                    <a:pt x="747" y="30"/>
                    <a:pt x="740" y="28"/>
                  </a:cubicBezTo>
                  <a:cubicBezTo>
                    <a:pt x="740" y="28"/>
                    <a:pt x="739" y="28"/>
                    <a:pt x="738" y="27"/>
                  </a:cubicBezTo>
                  <a:cubicBezTo>
                    <a:pt x="732" y="25"/>
                    <a:pt x="725" y="23"/>
                    <a:pt x="719" y="21"/>
                  </a:cubicBezTo>
                  <a:cubicBezTo>
                    <a:pt x="719" y="21"/>
                    <a:pt x="719" y="21"/>
                    <a:pt x="719" y="21"/>
                  </a:cubicBezTo>
                  <a:cubicBezTo>
                    <a:pt x="712" y="19"/>
                    <a:pt x="705" y="18"/>
                    <a:pt x="699" y="16"/>
                  </a:cubicBezTo>
                  <a:cubicBezTo>
                    <a:pt x="698" y="16"/>
                    <a:pt x="697" y="15"/>
                    <a:pt x="696" y="15"/>
                  </a:cubicBezTo>
                  <a:cubicBezTo>
                    <a:pt x="689" y="14"/>
                    <a:pt x="682" y="12"/>
                    <a:pt x="676" y="11"/>
                  </a:cubicBezTo>
                  <a:lnTo>
                    <a:pt x="675" y="11"/>
                  </a:lnTo>
                  <a:cubicBezTo>
                    <a:pt x="669" y="9"/>
                    <a:pt x="662" y="8"/>
                    <a:pt x="656" y="7"/>
                  </a:cubicBezTo>
                  <a:cubicBezTo>
                    <a:pt x="654" y="7"/>
                    <a:pt x="653" y="7"/>
                    <a:pt x="652" y="7"/>
                  </a:cubicBezTo>
                  <a:cubicBezTo>
                    <a:pt x="646" y="5"/>
                    <a:pt x="639" y="5"/>
                    <a:pt x="632" y="4"/>
                  </a:cubicBezTo>
                  <a:cubicBezTo>
                    <a:pt x="631" y="4"/>
                    <a:pt x="630" y="3"/>
                    <a:pt x="629" y="3"/>
                  </a:cubicBezTo>
                  <a:cubicBezTo>
                    <a:pt x="623" y="3"/>
                    <a:pt x="617" y="2"/>
                    <a:pt x="611" y="2"/>
                  </a:cubicBezTo>
                  <a:cubicBezTo>
                    <a:pt x="610" y="1"/>
                    <a:pt x="609" y="1"/>
                    <a:pt x="608" y="1"/>
                  </a:cubicBezTo>
                  <a:cubicBezTo>
                    <a:pt x="601" y="1"/>
                    <a:pt x="595" y="0"/>
                    <a:pt x="588" y="0"/>
                  </a:cubicBezTo>
                  <a:cubicBezTo>
                    <a:pt x="586" y="0"/>
                    <a:pt x="585" y="0"/>
                    <a:pt x="583" y="0"/>
                  </a:cubicBezTo>
                  <a:cubicBezTo>
                    <a:pt x="577" y="0"/>
                    <a:pt x="570" y="0"/>
                    <a:pt x="563" y="0"/>
                  </a:cubicBezTo>
                  <a:cubicBezTo>
                    <a:pt x="558" y="0"/>
                    <a:pt x="553" y="0"/>
                    <a:pt x="548" y="0"/>
                  </a:cubicBezTo>
                  <a:cubicBezTo>
                    <a:pt x="547" y="0"/>
                    <a:pt x="546" y="0"/>
                    <a:pt x="544" y="0"/>
                  </a:cubicBezTo>
                  <a:cubicBezTo>
                    <a:pt x="541" y="0"/>
                    <a:pt x="538" y="0"/>
                    <a:pt x="534" y="0"/>
                  </a:cubicBezTo>
                  <a:cubicBezTo>
                    <a:pt x="532" y="0"/>
                    <a:pt x="530" y="0"/>
                    <a:pt x="528" y="1"/>
                  </a:cubicBezTo>
                  <a:cubicBezTo>
                    <a:pt x="525" y="1"/>
                    <a:pt x="522" y="1"/>
                    <a:pt x="520" y="1"/>
                  </a:cubicBezTo>
                  <a:cubicBezTo>
                    <a:pt x="517" y="1"/>
                    <a:pt x="515" y="2"/>
                    <a:pt x="513" y="2"/>
                  </a:cubicBezTo>
                  <a:cubicBezTo>
                    <a:pt x="511" y="2"/>
                    <a:pt x="508" y="2"/>
                    <a:pt x="506" y="2"/>
                  </a:cubicBezTo>
                  <a:cubicBezTo>
                    <a:pt x="503" y="3"/>
                    <a:pt x="501" y="3"/>
                    <a:pt x="498" y="3"/>
                  </a:cubicBezTo>
                  <a:cubicBezTo>
                    <a:pt x="496" y="4"/>
                    <a:pt x="494" y="4"/>
                    <a:pt x="492" y="4"/>
                  </a:cubicBezTo>
                  <a:cubicBezTo>
                    <a:pt x="489" y="4"/>
                    <a:pt x="486" y="5"/>
                    <a:pt x="483" y="5"/>
                  </a:cubicBezTo>
                  <a:cubicBezTo>
                    <a:pt x="481" y="5"/>
                    <a:pt x="480" y="6"/>
                    <a:pt x="478" y="6"/>
                  </a:cubicBezTo>
                  <a:cubicBezTo>
                    <a:pt x="475" y="6"/>
                    <a:pt x="472" y="7"/>
                    <a:pt x="469" y="7"/>
                  </a:cubicBezTo>
                  <a:cubicBezTo>
                    <a:pt x="467" y="8"/>
                    <a:pt x="465" y="8"/>
                    <a:pt x="464" y="8"/>
                  </a:cubicBezTo>
                  <a:cubicBezTo>
                    <a:pt x="461" y="9"/>
                    <a:pt x="458" y="9"/>
                    <a:pt x="455" y="10"/>
                  </a:cubicBezTo>
                  <a:cubicBezTo>
                    <a:pt x="453" y="10"/>
                    <a:pt x="452" y="10"/>
                    <a:pt x="450" y="11"/>
                  </a:cubicBezTo>
                  <a:cubicBezTo>
                    <a:pt x="447" y="11"/>
                    <a:pt x="444" y="12"/>
                    <a:pt x="441" y="13"/>
                  </a:cubicBezTo>
                  <a:cubicBezTo>
                    <a:pt x="439" y="13"/>
                    <a:pt x="438" y="13"/>
                    <a:pt x="437" y="14"/>
                  </a:cubicBezTo>
                  <a:cubicBezTo>
                    <a:pt x="433" y="15"/>
                    <a:pt x="430" y="15"/>
                    <a:pt x="427" y="16"/>
                  </a:cubicBezTo>
                  <a:cubicBezTo>
                    <a:pt x="426" y="16"/>
                    <a:pt x="424" y="17"/>
                    <a:pt x="423" y="17"/>
                  </a:cubicBezTo>
                  <a:cubicBezTo>
                    <a:pt x="420" y="18"/>
                    <a:pt x="417" y="19"/>
                    <a:pt x="413" y="20"/>
                  </a:cubicBezTo>
                  <a:cubicBezTo>
                    <a:pt x="412" y="20"/>
                    <a:pt x="411" y="20"/>
                    <a:pt x="410" y="21"/>
                  </a:cubicBezTo>
                  <a:cubicBezTo>
                    <a:pt x="406" y="22"/>
                    <a:pt x="403" y="23"/>
                    <a:pt x="400" y="24"/>
                  </a:cubicBezTo>
                  <a:cubicBezTo>
                    <a:pt x="399" y="24"/>
                    <a:pt x="398" y="24"/>
                    <a:pt x="397" y="25"/>
                  </a:cubicBezTo>
                  <a:cubicBezTo>
                    <a:pt x="393" y="26"/>
                    <a:pt x="390" y="27"/>
                    <a:pt x="386" y="28"/>
                  </a:cubicBezTo>
                  <a:cubicBezTo>
                    <a:pt x="385" y="28"/>
                    <a:pt x="384" y="28"/>
                    <a:pt x="383" y="29"/>
                  </a:cubicBezTo>
                  <a:cubicBezTo>
                    <a:pt x="380" y="30"/>
                    <a:pt x="376" y="31"/>
                    <a:pt x="373" y="32"/>
                  </a:cubicBezTo>
                  <a:cubicBezTo>
                    <a:pt x="372" y="33"/>
                    <a:pt x="371" y="33"/>
                    <a:pt x="371" y="33"/>
                  </a:cubicBezTo>
                  <a:cubicBezTo>
                    <a:pt x="367" y="35"/>
                    <a:pt x="363" y="36"/>
                    <a:pt x="360" y="37"/>
                  </a:cubicBezTo>
                  <a:cubicBezTo>
                    <a:pt x="359" y="38"/>
                    <a:pt x="359" y="38"/>
                    <a:pt x="358" y="38"/>
                  </a:cubicBezTo>
                  <a:cubicBezTo>
                    <a:pt x="354" y="40"/>
                    <a:pt x="351" y="41"/>
                    <a:pt x="347" y="42"/>
                  </a:cubicBezTo>
                  <a:cubicBezTo>
                    <a:pt x="346" y="43"/>
                    <a:pt x="346" y="43"/>
                    <a:pt x="345" y="43"/>
                  </a:cubicBezTo>
                  <a:cubicBezTo>
                    <a:pt x="342" y="45"/>
                    <a:pt x="338" y="46"/>
                    <a:pt x="334" y="48"/>
                  </a:cubicBezTo>
                  <a:cubicBezTo>
                    <a:pt x="334" y="48"/>
                    <a:pt x="333" y="48"/>
                    <a:pt x="333" y="49"/>
                  </a:cubicBezTo>
                  <a:cubicBezTo>
                    <a:pt x="329" y="50"/>
                    <a:pt x="325" y="52"/>
                    <a:pt x="322" y="54"/>
                  </a:cubicBezTo>
                  <a:cubicBezTo>
                    <a:pt x="321" y="54"/>
                    <a:pt x="321" y="54"/>
                    <a:pt x="320" y="54"/>
                  </a:cubicBezTo>
                  <a:cubicBezTo>
                    <a:pt x="317" y="56"/>
                    <a:pt x="313" y="58"/>
                    <a:pt x="309" y="60"/>
                  </a:cubicBezTo>
                  <a:cubicBezTo>
                    <a:pt x="309" y="60"/>
                    <a:pt x="309" y="60"/>
                    <a:pt x="308" y="60"/>
                  </a:cubicBezTo>
                  <a:cubicBezTo>
                    <a:pt x="305" y="62"/>
                    <a:pt x="301" y="64"/>
                    <a:pt x="297" y="66"/>
                  </a:cubicBezTo>
                  <a:cubicBezTo>
                    <a:pt x="297" y="66"/>
                    <a:pt x="297" y="67"/>
                    <a:pt x="296" y="67"/>
                  </a:cubicBezTo>
                  <a:cubicBezTo>
                    <a:pt x="293" y="69"/>
                    <a:pt x="289" y="71"/>
                    <a:pt x="285" y="73"/>
                  </a:cubicBezTo>
                  <a:cubicBezTo>
                    <a:pt x="285" y="73"/>
                    <a:pt x="285" y="73"/>
                    <a:pt x="285" y="73"/>
                  </a:cubicBezTo>
                  <a:cubicBezTo>
                    <a:pt x="281" y="75"/>
                    <a:pt x="277" y="77"/>
                    <a:pt x="273" y="80"/>
                  </a:cubicBezTo>
                  <a:lnTo>
                    <a:pt x="273" y="80"/>
                  </a:lnTo>
                  <a:cubicBezTo>
                    <a:pt x="269" y="82"/>
                    <a:pt x="266" y="85"/>
                    <a:pt x="262" y="87"/>
                  </a:cubicBezTo>
                  <a:lnTo>
                    <a:pt x="262" y="87"/>
                  </a:lnTo>
                  <a:cubicBezTo>
                    <a:pt x="258" y="89"/>
                    <a:pt x="254" y="92"/>
                    <a:pt x="251" y="94"/>
                  </a:cubicBezTo>
                  <a:cubicBezTo>
                    <a:pt x="250" y="94"/>
                    <a:pt x="250" y="94"/>
                    <a:pt x="250" y="94"/>
                  </a:cubicBezTo>
                  <a:cubicBezTo>
                    <a:pt x="247" y="97"/>
                    <a:pt x="243" y="99"/>
                    <a:pt x="239" y="102"/>
                  </a:cubicBezTo>
                  <a:lnTo>
                    <a:pt x="239" y="102"/>
                  </a:lnTo>
                  <a:cubicBezTo>
                    <a:pt x="236" y="105"/>
                    <a:pt x="232" y="107"/>
                    <a:pt x="228" y="110"/>
                  </a:cubicBezTo>
                  <a:lnTo>
                    <a:pt x="228" y="110"/>
                  </a:lnTo>
                  <a:cubicBezTo>
                    <a:pt x="225" y="113"/>
                    <a:pt x="221" y="115"/>
                    <a:pt x="218" y="118"/>
                  </a:cubicBezTo>
                  <a:lnTo>
                    <a:pt x="218" y="118"/>
                  </a:lnTo>
                  <a:cubicBezTo>
                    <a:pt x="214" y="121"/>
                    <a:pt x="211" y="124"/>
                    <a:pt x="207" y="126"/>
                  </a:cubicBezTo>
                  <a:lnTo>
                    <a:pt x="207" y="126"/>
                  </a:lnTo>
                  <a:cubicBezTo>
                    <a:pt x="204" y="129"/>
                    <a:pt x="200" y="132"/>
                    <a:pt x="197" y="135"/>
                  </a:cubicBezTo>
                  <a:lnTo>
                    <a:pt x="197" y="135"/>
                  </a:lnTo>
                  <a:cubicBezTo>
                    <a:pt x="193" y="138"/>
                    <a:pt x="190" y="141"/>
                    <a:pt x="187" y="144"/>
                  </a:cubicBezTo>
                  <a:lnTo>
                    <a:pt x="187" y="144"/>
                  </a:lnTo>
                  <a:cubicBezTo>
                    <a:pt x="184" y="147"/>
                    <a:pt x="180" y="150"/>
                    <a:pt x="177" y="153"/>
                  </a:cubicBezTo>
                  <a:lnTo>
                    <a:pt x="177" y="153"/>
                  </a:lnTo>
                  <a:cubicBezTo>
                    <a:pt x="174" y="156"/>
                    <a:pt x="171" y="159"/>
                    <a:pt x="167" y="162"/>
                  </a:cubicBezTo>
                  <a:cubicBezTo>
                    <a:pt x="167" y="162"/>
                    <a:pt x="167" y="162"/>
                    <a:pt x="167" y="162"/>
                  </a:cubicBezTo>
                  <a:lnTo>
                    <a:pt x="167" y="162"/>
                  </a:lnTo>
                  <a:cubicBezTo>
                    <a:pt x="121" y="208"/>
                    <a:pt x="83" y="261"/>
                    <a:pt x="55" y="321"/>
                  </a:cubicBezTo>
                  <a:cubicBezTo>
                    <a:pt x="54" y="322"/>
                    <a:pt x="54" y="323"/>
                    <a:pt x="53" y="324"/>
                  </a:cubicBezTo>
                  <a:cubicBezTo>
                    <a:pt x="52" y="327"/>
                    <a:pt x="50" y="331"/>
                    <a:pt x="48" y="335"/>
                  </a:cubicBezTo>
                  <a:cubicBezTo>
                    <a:pt x="48" y="336"/>
                    <a:pt x="47" y="337"/>
                    <a:pt x="47" y="338"/>
                  </a:cubicBezTo>
                  <a:cubicBezTo>
                    <a:pt x="45" y="342"/>
                    <a:pt x="44" y="345"/>
                    <a:pt x="42" y="349"/>
                  </a:cubicBezTo>
                  <a:cubicBezTo>
                    <a:pt x="42" y="350"/>
                    <a:pt x="41" y="351"/>
                    <a:pt x="41" y="353"/>
                  </a:cubicBezTo>
                  <a:cubicBezTo>
                    <a:pt x="39" y="356"/>
                    <a:pt x="38" y="360"/>
                    <a:pt x="36" y="364"/>
                  </a:cubicBezTo>
                  <a:cubicBezTo>
                    <a:pt x="36" y="365"/>
                    <a:pt x="36" y="366"/>
                    <a:pt x="35" y="367"/>
                  </a:cubicBezTo>
                  <a:cubicBezTo>
                    <a:pt x="32" y="377"/>
                    <a:pt x="28" y="386"/>
                    <a:pt x="25" y="396"/>
                  </a:cubicBezTo>
                  <a:cubicBezTo>
                    <a:pt x="25" y="397"/>
                    <a:pt x="25" y="399"/>
                    <a:pt x="24" y="400"/>
                  </a:cubicBezTo>
                  <a:cubicBezTo>
                    <a:pt x="23" y="403"/>
                    <a:pt x="22" y="407"/>
                    <a:pt x="21" y="411"/>
                  </a:cubicBezTo>
                  <a:cubicBezTo>
                    <a:pt x="21" y="413"/>
                    <a:pt x="20" y="414"/>
                    <a:pt x="20" y="416"/>
                  </a:cubicBezTo>
                  <a:cubicBezTo>
                    <a:pt x="19" y="419"/>
                    <a:pt x="18" y="423"/>
                    <a:pt x="17" y="426"/>
                  </a:cubicBezTo>
                  <a:cubicBezTo>
                    <a:pt x="17" y="428"/>
                    <a:pt x="16" y="429"/>
                    <a:pt x="16" y="431"/>
                  </a:cubicBezTo>
                  <a:cubicBezTo>
                    <a:pt x="15" y="435"/>
                    <a:pt x="14" y="438"/>
                    <a:pt x="13" y="442"/>
                  </a:cubicBezTo>
                  <a:cubicBezTo>
                    <a:pt x="13" y="443"/>
                    <a:pt x="13" y="445"/>
                    <a:pt x="12" y="446"/>
                  </a:cubicBezTo>
                  <a:cubicBezTo>
                    <a:pt x="12" y="451"/>
                    <a:pt x="11" y="455"/>
                    <a:pt x="10" y="459"/>
                  </a:cubicBezTo>
                  <a:cubicBezTo>
                    <a:pt x="10" y="460"/>
                    <a:pt x="10" y="461"/>
                    <a:pt x="9" y="462"/>
                  </a:cubicBezTo>
                  <a:cubicBezTo>
                    <a:pt x="8" y="467"/>
                    <a:pt x="8" y="472"/>
                    <a:pt x="7" y="477"/>
                  </a:cubicBezTo>
                  <a:cubicBezTo>
                    <a:pt x="7" y="478"/>
                    <a:pt x="7" y="479"/>
                    <a:pt x="6" y="480"/>
                  </a:cubicBezTo>
                  <a:cubicBezTo>
                    <a:pt x="6" y="484"/>
                    <a:pt x="5" y="489"/>
                    <a:pt x="5" y="493"/>
                  </a:cubicBezTo>
                  <a:cubicBezTo>
                    <a:pt x="5" y="494"/>
                    <a:pt x="4" y="496"/>
                    <a:pt x="4" y="498"/>
                  </a:cubicBezTo>
                  <a:cubicBezTo>
                    <a:pt x="4" y="501"/>
                    <a:pt x="3" y="505"/>
                    <a:pt x="3" y="508"/>
                  </a:cubicBezTo>
                  <a:cubicBezTo>
                    <a:pt x="3" y="510"/>
                    <a:pt x="3" y="512"/>
                    <a:pt x="3" y="514"/>
                  </a:cubicBezTo>
                  <a:cubicBezTo>
                    <a:pt x="2" y="517"/>
                    <a:pt x="2" y="521"/>
                    <a:pt x="2" y="524"/>
                  </a:cubicBezTo>
                  <a:cubicBezTo>
                    <a:pt x="2" y="526"/>
                    <a:pt x="2" y="528"/>
                    <a:pt x="1" y="530"/>
                  </a:cubicBezTo>
                  <a:cubicBezTo>
                    <a:pt x="1" y="534"/>
                    <a:pt x="1" y="537"/>
                    <a:pt x="1" y="541"/>
                  </a:cubicBezTo>
                  <a:cubicBezTo>
                    <a:pt x="1" y="543"/>
                    <a:pt x="1" y="544"/>
                    <a:pt x="1" y="546"/>
                  </a:cubicBezTo>
                  <a:cubicBezTo>
                    <a:pt x="1" y="551"/>
                    <a:pt x="0" y="557"/>
                    <a:pt x="0" y="562"/>
                  </a:cubicBezTo>
                  <a:cubicBezTo>
                    <a:pt x="0" y="873"/>
                    <a:pt x="252" y="1125"/>
                    <a:pt x="563" y="1125"/>
                  </a:cubicBezTo>
                  <a:cubicBezTo>
                    <a:pt x="874" y="1125"/>
                    <a:pt x="1126" y="873"/>
                    <a:pt x="1126" y="562"/>
                  </a:cubicBezTo>
                  <a:cubicBezTo>
                    <a:pt x="1126" y="352"/>
                    <a:pt x="1010" y="168"/>
                    <a:pt x="839" y="72"/>
                  </a:cubicBezTo>
                  <a:close/>
                  <a:moveTo>
                    <a:pt x="1013" y="344"/>
                  </a:moveTo>
                  <a:lnTo>
                    <a:pt x="977" y="364"/>
                  </a:lnTo>
                  <a:lnTo>
                    <a:pt x="991" y="400"/>
                  </a:lnTo>
                  <a:lnTo>
                    <a:pt x="985" y="425"/>
                  </a:lnTo>
                  <a:lnTo>
                    <a:pt x="1021" y="428"/>
                  </a:lnTo>
                  <a:lnTo>
                    <a:pt x="1015" y="387"/>
                  </a:lnTo>
                  <a:lnTo>
                    <a:pt x="1001" y="368"/>
                  </a:lnTo>
                  <a:lnTo>
                    <a:pt x="1017" y="361"/>
                  </a:lnTo>
                  <a:lnTo>
                    <a:pt x="1017" y="353"/>
                  </a:lnTo>
                  <a:cubicBezTo>
                    <a:pt x="1038" y="399"/>
                    <a:pt x="1053" y="449"/>
                    <a:pt x="1059" y="501"/>
                  </a:cubicBezTo>
                  <a:lnTo>
                    <a:pt x="1020" y="494"/>
                  </a:lnTo>
                  <a:lnTo>
                    <a:pt x="998" y="475"/>
                  </a:lnTo>
                  <a:lnTo>
                    <a:pt x="986" y="481"/>
                  </a:lnTo>
                  <a:lnTo>
                    <a:pt x="1003" y="520"/>
                  </a:lnTo>
                  <a:lnTo>
                    <a:pt x="1028" y="507"/>
                  </a:lnTo>
                  <a:lnTo>
                    <a:pt x="1062" y="532"/>
                  </a:lnTo>
                  <a:lnTo>
                    <a:pt x="1062" y="533"/>
                  </a:lnTo>
                  <a:lnTo>
                    <a:pt x="962" y="592"/>
                  </a:lnTo>
                  <a:lnTo>
                    <a:pt x="911" y="491"/>
                  </a:lnTo>
                  <a:lnTo>
                    <a:pt x="900" y="492"/>
                  </a:lnTo>
                  <a:lnTo>
                    <a:pt x="953" y="613"/>
                  </a:lnTo>
                  <a:lnTo>
                    <a:pt x="1004" y="589"/>
                  </a:lnTo>
                  <a:lnTo>
                    <a:pt x="988" y="645"/>
                  </a:lnTo>
                  <a:lnTo>
                    <a:pt x="937" y="692"/>
                  </a:lnTo>
                  <a:lnTo>
                    <a:pt x="944" y="761"/>
                  </a:lnTo>
                  <a:lnTo>
                    <a:pt x="916" y="784"/>
                  </a:lnTo>
                  <a:lnTo>
                    <a:pt x="862" y="884"/>
                  </a:lnTo>
                  <a:lnTo>
                    <a:pt x="809" y="894"/>
                  </a:lnTo>
                  <a:lnTo>
                    <a:pt x="762" y="781"/>
                  </a:lnTo>
                  <a:lnTo>
                    <a:pt x="774" y="729"/>
                  </a:lnTo>
                  <a:lnTo>
                    <a:pt x="745" y="639"/>
                  </a:lnTo>
                  <a:lnTo>
                    <a:pt x="646" y="645"/>
                  </a:lnTo>
                  <a:lnTo>
                    <a:pt x="592" y="592"/>
                  </a:lnTo>
                  <a:lnTo>
                    <a:pt x="601" y="505"/>
                  </a:lnTo>
                  <a:lnTo>
                    <a:pt x="654" y="441"/>
                  </a:lnTo>
                  <a:lnTo>
                    <a:pt x="758" y="423"/>
                  </a:lnTo>
                  <a:lnTo>
                    <a:pt x="764" y="450"/>
                  </a:lnTo>
                  <a:lnTo>
                    <a:pt x="806" y="478"/>
                  </a:lnTo>
                  <a:lnTo>
                    <a:pt x="822" y="455"/>
                  </a:lnTo>
                  <a:lnTo>
                    <a:pt x="886" y="472"/>
                  </a:lnTo>
                  <a:lnTo>
                    <a:pt x="903" y="462"/>
                  </a:lnTo>
                  <a:lnTo>
                    <a:pt x="910" y="437"/>
                  </a:lnTo>
                  <a:lnTo>
                    <a:pt x="866" y="430"/>
                  </a:lnTo>
                  <a:lnTo>
                    <a:pt x="851" y="405"/>
                  </a:lnTo>
                  <a:lnTo>
                    <a:pt x="841" y="400"/>
                  </a:lnTo>
                  <a:lnTo>
                    <a:pt x="832" y="431"/>
                  </a:lnTo>
                  <a:lnTo>
                    <a:pt x="812" y="407"/>
                  </a:lnTo>
                  <a:lnTo>
                    <a:pt x="814" y="386"/>
                  </a:lnTo>
                  <a:lnTo>
                    <a:pt x="787" y="365"/>
                  </a:lnTo>
                  <a:lnTo>
                    <a:pt x="772" y="357"/>
                  </a:lnTo>
                  <a:lnTo>
                    <a:pt x="773" y="378"/>
                  </a:lnTo>
                  <a:lnTo>
                    <a:pt x="806" y="400"/>
                  </a:lnTo>
                  <a:lnTo>
                    <a:pt x="789" y="420"/>
                  </a:lnTo>
                  <a:lnTo>
                    <a:pt x="765" y="388"/>
                  </a:lnTo>
                  <a:lnTo>
                    <a:pt x="748" y="369"/>
                  </a:lnTo>
                  <a:lnTo>
                    <a:pt x="709" y="388"/>
                  </a:lnTo>
                  <a:lnTo>
                    <a:pt x="682" y="432"/>
                  </a:lnTo>
                  <a:lnTo>
                    <a:pt x="640" y="425"/>
                  </a:lnTo>
                  <a:lnTo>
                    <a:pt x="637" y="373"/>
                  </a:lnTo>
                  <a:lnTo>
                    <a:pt x="691" y="377"/>
                  </a:lnTo>
                  <a:lnTo>
                    <a:pt x="674" y="349"/>
                  </a:lnTo>
                  <a:lnTo>
                    <a:pt x="663" y="327"/>
                  </a:lnTo>
                  <a:lnTo>
                    <a:pt x="704" y="314"/>
                  </a:lnTo>
                  <a:lnTo>
                    <a:pt x="726" y="284"/>
                  </a:lnTo>
                  <a:lnTo>
                    <a:pt x="744" y="283"/>
                  </a:lnTo>
                  <a:lnTo>
                    <a:pt x="741" y="266"/>
                  </a:lnTo>
                  <a:lnTo>
                    <a:pt x="752" y="250"/>
                  </a:lnTo>
                  <a:lnTo>
                    <a:pt x="761" y="276"/>
                  </a:lnTo>
                  <a:lnTo>
                    <a:pt x="812" y="277"/>
                  </a:lnTo>
                  <a:lnTo>
                    <a:pt x="827" y="241"/>
                  </a:lnTo>
                  <a:lnTo>
                    <a:pt x="846" y="248"/>
                  </a:lnTo>
                  <a:lnTo>
                    <a:pt x="840" y="223"/>
                  </a:lnTo>
                  <a:lnTo>
                    <a:pt x="870" y="213"/>
                  </a:lnTo>
                  <a:lnTo>
                    <a:pt x="861" y="202"/>
                  </a:lnTo>
                  <a:lnTo>
                    <a:pt x="833" y="210"/>
                  </a:lnTo>
                  <a:lnTo>
                    <a:pt x="824" y="186"/>
                  </a:lnTo>
                  <a:lnTo>
                    <a:pt x="822" y="186"/>
                  </a:lnTo>
                  <a:lnTo>
                    <a:pt x="823" y="184"/>
                  </a:lnTo>
                  <a:lnTo>
                    <a:pt x="819" y="174"/>
                  </a:lnTo>
                  <a:lnTo>
                    <a:pt x="830" y="167"/>
                  </a:lnTo>
                  <a:lnTo>
                    <a:pt x="838" y="145"/>
                  </a:lnTo>
                  <a:cubicBezTo>
                    <a:pt x="913" y="194"/>
                    <a:pt x="973" y="263"/>
                    <a:pt x="1013" y="344"/>
                  </a:cubicBezTo>
                  <a:close/>
                  <a:moveTo>
                    <a:pt x="957" y="819"/>
                  </a:moveTo>
                  <a:lnTo>
                    <a:pt x="958" y="767"/>
                  </a:lnTo>
                  <a:lnTo>
                    <a:pt x="994" y="739"/>
                  </a:lnTo>
                  <a:lnTo>
                    <a:pt x="999" y="765"/>
                  </a:lnTo>
                  <a:lnTo>
                    <a:pt x="978" y="828"/>
                  </a:lnTo>
                  <a:lnTo>
                    <a:pt x="957" y="819"/>
                  </a:lnTo>
                  <a:close/>
                  <a:moveTo>
                    <a:pt x="531" y="97"/>
                  </a:moveTo>
                  <a:lnTo>
                    <a:pt x="548" y="132"/>
                  </a:lnTo>
                  <a:lnTo>
                    <a:pt x="524" y="177"/>
                  </a:lnTo>
                  <a:lnTo>
                    <a:pt x="523" y="201"/>
                  </a:lnTo>
                  <a:lnTo>
                    <a:pt x="499" y="216"/>
                  </a:lnTo>
                  <a:lnTo>
                    <a:pt x="496" y="278"/>
                  </a:lnTo>
                  <a:lnTo>
                    <a:pt x="461" y="269"/>
                  </a:lnTo>
                  <a:lnTo>
                    <a:pt x="393" y="92"/>
                  </a:lnTo>
                  <a:cubicBezTo>
                    <a:pt x="431" y="78"/>
                    <a:pt x="471" y="69"/>
                    <a:pt x="512" y="65"/>
                  </a:cubicBezTo>
                  <a:lnTo>
                    <a:pt x="531" y="97"/>
                  </a:lnTo>
                  <a:close/>
                  <a:moveTo>
                    <a:pt x="832" y="141"/>
                  </a:moveTo>
                  <a:lnTo>
                    <a:pt x="829" y="141"/>
                  </a:lnTo>
                  <a:lnTo>
                    <a:pt x="812" y="161"/>
                  </a:lnTo>
                  <a:lnTo>
                    <a:pt x="798" y="193"/>
                  </a:lnTo>
                  <a:lnTo>
                    <a:pt x="814" y="210"/>
                  </a:lnTo>
                  <a:lnTo>
                    <a:pt x="798" y="251"/>
                  </a:lnTo>
                  <a:lnTo>
                    <a:pt x="775" y="260"/>
                  </a:lnTo>
                  <a:lnTo>
                    <a:pt x="761" y="219"/>
                  </a:lnTo>
                  <a:lnTo>
                    <a:pt x="734" y="234"/>
                  </a:lnTo>
                  <a:lnTo>
                    <a:pt x="721" y="227"/>
                  </a:lnTo>
                  <a:lnTo>
                    <a:pt x="722" y="186"/>
                  </a:lnTo>
                  <a:lnTo>
                    <a:pt x="746" y="168"/>
                  </a:lnTo>
                  <a:lnTo>
                    <a:pt x="765" y="120"/>
                  </a:lnTo>
                  <a:lnTo>
                    <a:pt x="780" y="112"/>
                  </a:lnTo>
                  <a:cubicBezTo>
                    <a:pt x="798" y="120"/>
                    <a:pt x="815" y="130"/>
                    <a:pt x="832" y="141"/>
                  </a:cubicBezTo>
                  <a:close/>
                  <a:moveTo>
                    <a:pt x="653" y="245"/>
                  </a:moveTo>
                  <a:lnTo>
                    <a:pt x="630" y="245"/>
                  </a:lnTo>
                  <a:lnTo>
                    <a:pt x="631" y="220"/>
                  </a:lnTo>
                  <a:lnTo>
                    <a:pt x="651" y="197"/>
                  </a:lnTo>
                  <a:lnTo>
                    <a:pt x="649" y="179"/>
                  </a:lnTo>
                  <a:lnTo>
                    <a:pt x="670" y="164"/>
                  </a:lnTo>
                  <a:lnTo>
                    <a:pt x="705" y="232"/>
                  </a:lnTo>
                  <a:lnTo>
                    <a:pt x="696" y="246"/>
                  </a:lnTo>
                  <a:lnTo>
                    <a:pt x="664" y="261"/>
                  </a:lnTo>
                  <a:lnTo>
                    <a:pt x="664" y="214"/>
                  </a:lnTo>
                  <a:lnTo>
                    <a:pt x="653" y="245"/>
                  </a:lnTo>
                  <a:close/>
                  <a:moveTo>
                    <a:pt x="280" y="150"/>
                  </a:moveTo>
                  <a:lnTo>
                    <a:pt x="316" y="146"/>
                  </a:lnTo>
                  <a:lnTo>
                    <a:pt x="316" y="224"/>
                  </a:lnTo>
                  <a:lnTo>
                    <a:pt x="254" y="236"/>
                  </a:lnTo>
                  <a:lnTo>
                    <a:pt x="242" y="269"/>
                  </a:lnTo>
                  <a:lnTo>
                    <a:pt x="301" y="333"/>
                  </a:lnTo>
                  <a:lnTo>
                    <a:pt x="316" y="331"/>
                  </a:lnTo>
                  <a:lnTo>
                    <a:pt x="326" y="251"/>
                  </a:lnTo>
                  <a:lnTo>
                    <a:pt x="365" y="249"/>
                  </a:lnTo>
                  <a:lnTo>
                    <a:pt x="381" y="294"/>
                  </a:lnTo>
                  <a:lnTo>
                    <a:pt x="401" y="281"/>
                  </a:lnTo>
                  <a:lnTo>
                    <a:pt x="446" y="382"/>
                  </a:lnTo>
                  <a:lnTo>
                    <a:pt x="383" y="411"/>
                  </a:lnTo>
                  <a:lnTo>
                    <a:pt x="334" y="437"/>
                  </a:lnTo>
                  <a:lnTo>
                    <a:pt x="295" y="490"/>
                  </a:lnTo>
                  <a:lnTo>
                    <a:pt x="295" y="517"/>
                  </a:lnTo>
                  <a:lnTo>
                    <a:pt x="281" y="519"/>
                  </a:lnTo>
                  <a:lnTo>
                    <a:pt x="271" y="490"/>
                  </a:lnTo>
                  <a:lnTo>
                    <a:pt x="215" y="499"/>
                  </a:lnTo>
                  <a:lnTo>
                    <a:pt x="203" y="533"/>
                  </a:lnTo>
                  <a:lnTo>
                    <a:pt x="217" y="554"/>
                  </a:lnTo>
                  <a:lnTo>
                    <a:pt x="238" y="537"/>
                  </a:lnTo>
                  <a:lnTo>
                    <a:pt x="258" y="539"/>
                  </a:lnTo>
                  <a:lnTo>
                    <a:pt x="248" y="568"/>
                  </a:lnTo>
                  <a:lnTo>
                    <a:pt x="273" y="570"/>
                  </a:lnTo>
                  <a:lnTo>
                    <a:pt x="281" y="601"/>
                  </a:lnTo>
                  <a:lnTo>
                    <a:pt x="297" y="606"/>
                  </a:lnTo>
                  <a:lnTo>
                    <a:pt x="309" y="586"/>
                  </a:lnTo>
                  <a:lnTo>
                    <a:pt x="391" y="595"/>
                  </a:lnTo>
                  <a:lnTo>
                    <a:pt x="446" y="636"/>
                  </a:lnTo>
                  <a:lnTo>
                    <a:pt x="455" y="668"/>
                  </a:lnTo>
                  <a:lnTo>
                    <a:pt x="526" y="703"/>
                  </a:lnTo>
                  <a:lnTo>
                    <a:pt x="485" y="787"/>
                  </a:lnTo>
                  <a:lnTo>
                    <a:pt x="445" y="793"/>
                  </a:lnTo>
                  <a:lnTo>
                    <a:pt x="438" y="826"/>
                  </a:lnTo>
                  <a:lnTo>
                    <a:pt x="354" y="898"/>
                  </a:lnTo>
                  <a:lnTo>
                    <a:pt x="316" y="971"/>
                  </a:lnTo>
                  <a:lnTo>
                    <a:pt x="344" y="1002"/>
                  </a:lnTo>
                  <a:lnTo>
                    <a:pt x="310" y="993"/>
                  </a:lnTo>
                  <a:cubicBezTo>
                    <a:pt x="305" y="990"/>
                    <a:pt x="300" y="987"/>
                    <a:pt x="295" y="984"/>
                  </a:cubicBezTo>
                  <a:lnTo>
                    <a:pt x="281" y="949"/>
                  </a:lnTo>
                  <a:lnTo>
                    <a:pt x="328" y="758"/>
                  </a:lnTo>
                  <a:lnTo>
                    <a:pt x="289" y="724"/>
                  </a:lnTo>
                  <a:lnTo>
                    <a:pt x="271" y="650"/>
                  </a:lnTo>
                  <a:lnTo>
                    <a:pt x="293" y="614"/>
                  </a:lnTo>
                  <a:lnTo>
                    <a:pt x="273" y="617"/>
                  </a:lnTo>
                  <a:lnTo>
                    <a:pt x="244" y="580"/>
                  </a:lnTo>
                  <a:lnTo>
                    <a:pt x="219" y="568"/>
                  </a:lnTo>
                  <a:lnTo>
                    <a:pt x="162" y="548"/>
                  </a:lnTo>
                  <a:lnTo>
                    <a:pt x="115" y="474"/>
                  </a:lnTo>
                  <a:lnTo>
                    <a:pt x="86" y="421"/>
                  </a:lnTo>
                  <a:lnTo>
                    <a:pt x="86" y="411"/>
                  </a:lnTo>
                  <a:cubicBezTo>
                    <a:pt x="120" y="304"/>
                    <a:pt x="189" y="213"/>
                    <a:pt x="280" y="15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9" name="POWER_USER_ID_ICONS_Flag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4161969" y="1680779"/>
            <a:ext cx="247855" cy="292368"/>
            <a:chOff x="5" y="-91"/>
            <a:chExt cx="490" cy="578"/>
          </a:xfrm>
          <a:solidFill>
            <a:schemeClr val="accent4"/>
          </a:solidFill>
        </p:grpSpPr>
        <p:sp>
          <p:nvSpPr>
            <p:cNvPr id="40" name="POWER_USER_ID_ICONS_Flag2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" y="39"/>
              <a:ext cx="162" cy="448"/>
            </a:xfrm>
            <a:custGeom>
              <a:avLst/>
              <a:gdLst>
                <a:gd name="T0" fmla="*/ 55 w 398"/>
                <a:gd name="T1" fmla="*/ 10 h 1102"/>
                <a:gd name="T2" fmla="*/ 135 w 398"/>
                <a:gd name="T3" fmla="*/ 56 h 1102"/>
                <a:gd name="T4" fmla="*/ 389 w 398"/>
                <a:gd name="T5" fmla="*/ 1012 h 1102"/>
                <a:gd name="T6" fmla="*/ 343 w 398"/>
                <a:gd name="T7" fmla="*/ 1093 h 1102"/>
                <a:gd name="T8" fmla="*/ 263 w 398"/>
                <a:gd name="T9" fmla="*/ 1046 h 1102"/>
                <a:gd name="T10" fmla="*/ 9 w 398"/>
                <a:gd name="T11" fmla="*/ 91 h 1102"/>
                <a:gd name="T12" fmla="*/ 55 w 398"/>
                <a:gd name="T13" fmla="*/ 10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8" h="1102">
                  <a:moveTo>
                    <a:pt x="55" y="10"/>
                  </a:moveTo>
                  <a:cubicBezTo>
                    <a:pt x="90" y="0"/>
                    <a:pt x="126" y="21"/>
                    <a:pt x="135" y="56"/>
                  </a:cubicBezTo>
                  <a:lnTo>
                    <a:pt x="389" y="1012"/>
                  </a:lnTo>
                  <a:cubicBezTo>
                    <a:pt x="398" y="1047"/>
                    <a:pt x="378" y="1083"/>
                    <a:pt x="343" y="1093"/>
                  </a:cubicBezTo>
                  <a:cubicBezTo>
                    <a:pt x="308" y="1102"/>
                    <a:pt x="272" y="1081"/>
                    <a:pt x="263" y="1046"/>
                  </a:cubicBezTo>
                  <a:lnTo>
                    <a:pt x="9" y="91"/>
                  </a:lnTo>
                  <a:cubicBezTo>
                    <a:pt x="0" y="55"/>
                    <a:pt x="21" y="19"/>
                    <a:pt x="55" y="1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POWER_USER_ID_ICONS_Flag2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84" y="-91"/>
              <a:ext cx="411" cy="350"/>
            </a:xfrm>
            <a:custGeom>
              <a:avLst/>
              <a:gdLst>
                <a:gd name="T0" fmla="*/ 0 w 1012"/>
                <a:gd name="T1" fmla="*/ 273 h 860"/>
                <a:gd name="T2" fmla="*/ 446 w 1012"/>
                <a:gd name="T3" fmla="*/ 171 h 860"/>
                <a:gd name="T4" fmla="*/ 1012 w 1012"/>
                <a:gd name="T5" fmla="*/ 260 h 860"/>
                <a:gd name="T6" fmla="*/ 932 w 1012"/>
                <a:gd name="T7" fmla="*/ 514 h 860"/>
                <a:gd name="T8" fmla="*/ 529 w 1012"/>
                <a:gd name="T9" fmla="*/ 671 h 860"/>
                <a:gd name="T10" fmla="*/ 162 w 1012"/>
                <a:gd name="T11" fmla="*/ 860 h 860"/>
                <a:gd name="T12" fmla="*/ 0 w 1012"/>
                <a:gd name="T13" fmla="*/ 273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2" h="860">
                  <a:moveTo>
                    <a:pt x="0" y="273"/>
                  </a:moveTo>
                  <a:cubicBezTo>
                    <a:pt x="16" y="243"/>
                    <a:pt x="175" y="0"/>
                    <a:pt x="446" y="171"/>
                  </a:cubicBezTo>
                  <a:cubicBezTo>
                    <a:pt x="718" y="343"/>
                    <a:pt x="895" y="465"/>
                    <a:pt x="1012" y="260"/>
                  </a:cubicBezTo>
                  <a:cubicBezTo>
                    <a:pt x="1012" y="260"/>
                    <a:pt x="983" y="426"/>
                    <a:pt x="932" y="514"/>
                  </a:cubicBezTo>
                  <a:cubicBezTo>
                    <a:pt x="882" y="602"/>
                    <a:pt x="725" y="723"/>
                    <a:pt x="529" y="671"/>
                  </a:cubicBezTo>
                  <a:cubicBezTo>
                    <a:pt x="349" y="624"/>
                    <a:pt x="216" y="697"/>
                    <a:pt x="162" y="860"/>
                  </a:cubicBezTo>
                  <a:cubicBezTo>
                    <a:pt x="162" y="860"/>
                    <a:pt x="12" y="318"/>
                    <a:pt x="0" y="27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2" name="POWER_USER_ID_ICONS_Clipboard3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5988117" y="1323310"/>
            <a:ext cx="164899" cy="220035"/>
            <a:chOff x="63" y="9"/>
            <a:chExt cx="326" cy="435"/>
          </a:xfrm>
          <a:noFill/>
        </p:grpSpPr>
        <p:sp>
          <p:nvSpPr>
            <p:cNvPr id="43" name="POWER_USER_ID_ICONS_Clipboard3"/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63" y="9"/>
              <a:ext cx="326" cy="435"/>
            </a:xfrm>
            <a:custGeom>
              <a:avLst/>
              <a:gdLst>
                <a:gd name="T0" fmla="*/ 206 w 225"/>
                <a:gd name="T1" fmla="*/ 24 h 299"/>
                <a:gd name="T2" fmla="*/ 175 w 225"/>
                <a:gd name="T3" fmla="*/ 24 h 299"/>
                <a:gd name="T4" fmla="*/ 172 w 225"/>
                <a:gd name="T5" fmla="*/ 25 h 299"/>
                <a:gd name="T6" fmla="*/ 150 w 225"/>
                <a:gd name="T7" fmla="*/ 12 h 299"/>
                <a:gd name="T8" fmla="*/ 129 w 225"/>
                <a:gd name="T9" fmla="*/ 12 h 299"/>
                <a:gd name="T10" fmla="*/ 112 w 225"/>
                <a:gd name="T11" fmla="*/ 0 h 299"/>
                <a:gd name="T12" fmla="*/ 95 w 225"/>
                <a:gd name="T13" fmla="*/ 12 h 299"/>
                <a:gd name="T14" fmla="*/ 74 w 225"/>
                <a:gd name="T15" fmla="*/ 12 h 299"/>
                <a:gd name="T16" fmla="*/ 52 w 225"/>
                <a:gd name="T17" fmla="*/ 25 h 299"/>
                <a:gd name="T18" fmla="*/ 50 w 225"/>
                <a:gd name="T19" fmla="*/ 24 h 299"/>
                <a:gd name="T20" fmla="*/ 18 w 225"/>
                <a:gd name="T21" fmla="*/ 24 h 299"/>
                <a:gd name="T22" fmla="*/ 0 w 225"/>
                <a:gd name="T23" fmla="*/ 43 h 299"/>
                <a:gd name="T24" fmla="*/ 0 w 225"/>
                <a:gd name="T25" fmla="*/ 280 h 299"/>
                <a:gd name="T26" fmla="*/ 18 w 225"/>
                <a:gd name="T27" fmla="*/ 299 h 299"/>
                <a:gd name="T28" fmla="*/ 206 w 225"/>
                <a:gd name="T29" fmla="*/ 299 h 299"/>
                <a:gd name="T30" fmla="*/ 225 w 225"/>
                <a:gd name="T31" fmla="*/ 280 h 299"/>
                <a:gd name="T32" fmla="*/ 225 w 225"/>
                <a:gd name="T33" fmla="*/ 43 h 299"/>
                <a:gd name="T34" fmla="*/ 206 w 225"/>
                <a:gd name="T35" fmla="*/ 24 h 299"/>
                <a:gd name="T36" fmla="*/ 62 w 225"/>
                <a:gd name="T37" fmla="*/ 36 h 299"/>
                <a:gd name="T38" fmla="*/ 74 w 225"/>
                <a:gd name="T39" fmla="*/ 24 h 299"/>
                <a:gd name="T40" fmla="*/ 100 w 225"/>
                <a:gd name="T41" fmla="*/ 24 h 299"/>
                <a:gd name="T42" fmla="*/ 100 w 225"/>
                <a:gd name="T43" fmla="*/ 24 h 299"/>
                <a:gd name="T44" fmla="*/ 100 w 225"/>
                <a:gd name="T45" fmla="*/ 24 h 299"/>
                <a:gd name="T46" fmla="*/ 107 w 225"/>
                <a:gd name="T47" fmla="*/ 18 h 299"/>
                <a:gd name="T48" fmla="*/ 112 w 225"/>
                <a:gd name="T49" fmla="*/ 12 h 299"/>
                <a:gd name="T50" fmla="*/ 117 w 225"/>
                <a:gd name="T51" fmla="*/ 18 h 299"/>
                <a:gd name="T52" fmla="*/ 124 w 225"/>
                <a:gd name="T53" fmla="*/ 24 h 299"/>
                <a:gd name="T54" fmla="*/ 124 w 225"/>
                <a:gd name="T55" fmla="*/ 24 h 299"/>
                <a:gd name="T56" fmla="*/ 124 w 225"/>
                <a:gd name="T57" fmla="*/ 24 h 299"/>
                <a:gd name="T58" fmla="*/ 150 w 225"/>
                <a:gd name="T59" fmla="*/ 24 h 299"/>
                <a:gd name="T60" fmla="*/ 162 w 225"/>
                <a:gd name="T61" fmla="*/ 36 h 299"/>
                <a:gd name="T62" fmla="*/ 162 w 225"/>
                <a:gd name="T63" fmla="*/ 49 h 299"/>
                <a:gd name="T64" fmla="*/ 62 w 225"/>
                <a:gd name="T65" fmla="*/ 49 h 299"/>
                <a:gd name="T66" fmla="*/ 62 w 225"/>
                <a:gd name="T67" fmla="*/ 36 h 299"/>
                <a:gd name="T68" fmla="*/ 212 w 225"/>
                <a:gd name="T69" fmla="*/ 280 h 299"/>
                <a:gd name="T70" fmla="*/ 206 w 225"/>
                <a:gd name="T71" fmla="*/ 287 h 299"/>
                <a:gd name="T72" fmla="*/ 18 w 225"/>
                <a:gd name="T73" fmla="*/ 287 h 299"/>
                <a:gd name="T74" fmla="*/ 12 w 225"/>
                <a:gd name="T75" fmla="*/ 280 h 299"/>
                <a:gd name="T76" fmla="*/ 12 w 225"/>
                <a:gd name="T77" fmla="*/ 43 h 299"/>
                <a:gd name="T78" fmla="*/ 18 w 225"/>
                <a:gd name="T79" fmla="*/ 37 h 299"/>
                <a:gd name="T80" fmla="*/ 50 w 225"/>
                <a:gd name="T81" fmla="*/ 37 h 299"/>
                <a:gd name="T82" fmla="*/ 50 w 225"/>
                <a:gd name="T83" fmla="*/ 55 h 299"/>
                <a:gd name="T84" fmla="*/ 56 w 225"/>
                <a:gd name="T85" fmla="*/ 62 h 299"/>
                <a:gd name="T86" fmla="*/ 168 w 225"/>
                <a:gd name="T87" fmla="*/ 62 h 299"/>
                <a:gd name="T88" fmla="*/ 175 w 225"/>
                <a:gd name="T89" fmla="*/ 55 h 299"/>
                <a:gd name="T90" fmla="*/ 175 w 225"/>
                <a:gd name="T91" fmla="*/ 37 h 299"/>
                <a:gd name="T92" fmla="*/ 206 w 225"/>
                <a:gd name="T93" fmla="*/ 37 h 299"/>
                <a:gd name="T94" fmla="*/ 212 w 225"/>
                <a:gd name="T95" fmla="*/ 43 h 299"/>
                <a:gd name="T96" fmla="*/ 212 w 225"/>
                <a:gd name="T97" fmla="*/ 28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5" h="299">
                  <a:moveTo>
                    <a:pt x="206" y="24"/>
                  </a:moveTo>
                  <a:lnTo>
                    <a:pt x="175" y="24"/>
                  </a:lnTo>
                  <a:cubicBezTo>
                    <a:pt x="173" y="24"/>
                    <a:pt x="173" y="24"/>
                    <a:pt x="172" y="25"/>
                  </a:cubicBezTo>
                  <a:cubicBezTo>
                    <a:pt x="168" y="17"/>
                    <a:pt x="159" y="12"/>
                    <a:pt x="150" y="12"/>
                  </a:cubicBezTo>
                  <a:lnTo>
                    <a:pt x="129" y="12"/>
                  </a:lnTo>
                  <a:cubicBezTo>
                    <a:pt x="126" y="5"/>
                    <a:pt x="120" y="0"/>
                    <a:pt x="112" y="0"/>
                  </a:cubicBezTo>
                  <a:cubicBezTo>
                    <a:pt x="104" y="0"/>
                    <a:pt x="98" y="5"/>
                    <a:pt x="95" y="12"/>
                  </a:cubicBezTo>
                  <a:lnTo>
                    <a:pt x="74" y="12"/>
                  </a:lnTo>
                  <a:cubicBezTo>
                    <a:pt x="65" y="12"/>
                    <a:pt x="56" y="17"/>
                    <a:pt x="52" y="25"/>
                  </a:cubicBezTo>
                  <a:cubicBezTo>
                    <a:pt x="51" y="24"/>
                    <a:pt x="51" y="24"/>
                    <a:pt x="50" y="24"/>
                  </a:cubicBezTo>
                  <a:lnTo>
                    <a:pt x="18" y="24"/>
                  </a:lnTo>
                  <a:cubicBezTo>
                    <a:pt x="8" y="24"/>
                    <a:pt x="0" y="32"/>
                    <a:pt x="0" y="43"/>
                  </a:cubicBezTo>
                  <a:lnTo>
                    <a:pt x="0" y="280"/>
                  </a:lnTo>
                  <a:cubicBezTo>
                    <a:pt x="0" y="291"/>
                    <a:pt x="8" y="299"/>
                    <a:pt x="18" y="299"/>
                  </a:cubicBezTo>
                  <a:lnTo>
                    <a:pt x="206" y="299"/>
                  </a:lnTo>
                  <a:cubicBezTo>
                    <a:pt x="216" y="299"/>
                    <a:pt x="225" y="291"/>
                    <a:pt x="225" y="280"/>
                  </a:cubicBezTo>
                  <a:lnTo>
                    <a:pt x="225" y="43"/>
                  </a:lnTo>
                  <a:cubicBezTo>
                    <a:pt x="225" y="32"/>
                    <a:pt x="216" y="24"/>
                    <a:pt x="206" y="24"/>
                  </a:cubicBezTo>
                  <a:close/>
                  <a:moveTo>
                    <a:pt x="62" y="36"/>
                  </a:moveTo>
                  <a:cubicBezTo>
                    <a:pt x="62" y="29"/>
                    <a:pt x="67" y="24"/>
                    <a:pt x="74" y="24"/>
                  </a:cubicBez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cubicBezTo>
                    <a:pt x="104" y="24"/>
                    <a:pt x="107" y="21"/>
                    <a:pt x="107" y="18"/>
                  </a:cubicBezTo>
                  <a:cubicBezTo>
                    <a:pt x="107" y="15"/>
                    <a:pt x="109" y="12"/>
                    <a:pt x="112" y="12"/>
                  </a:cubicBezTo>
                  <a:cubicBezTo>
                    <a:pt x="115" y="12"/>
                    <a:pt x="117" y="15"/>
                    <a:pt x="117" y="18"/>
                  </a:cubicBezTo>
                  <a:cubicBezTo>
                    <a:pt x="117" y="21"/>
                    <a:pt x="120" y="24"/>
                    <a:pt x="124" y="24"/>
                  </a:cubicBezTo>
                  <a:lnTo>
                    <a:pt x="124" y="24"/>
                  </a:lnTo>
                  <a:lnTo>
                    <a:pt x="124" y="24"/>
                  </a:lnTo>
                  <a:lnTo>
                    <a:pt x="150" y="24"/>
                  </a:lnTo>
                  <a:cubicBezTo>
                    <a:pt x="157" y="24"/>
                    <a:pt x="162" y="29"/>
                    <a:pt x="162" y="36"/>
                  </a:cubicBezTo>
                  <a:lnTo>
                    <a:pt x="162" y="49"/>
                  </a:lnTo>
                  <a:lnTo>
                    <a:pt x="62" y="49"/>
                  </a:lnTo>
                  <a:lnTo>
                    <a:pt x="62" y="36"/>
                  </a:lnTo>
                  <a:close/>
                  <a:moveTo>
                    <a:pt x="212" y="280"/>
                  </a:moveTo>
                  <a:cubicBezTo>
                    <a:pt x="212" y="284"/>
                    <a:pt x="209" y="287"/>
                    <a:pt x="206" y="287"/>
                  </a:cubicBezTo>
                  <a:lnTo>
                    <a:pt x="18" y="287"/>
                  </a:lnTo>
                  <a:cubicBezTo>
                    <a:pt x="15" y="287"/>
                    <a:pt x="12" y="284"/>
                    <a:pt x="12" y="280"/>
                  </a:cubicBezTo>
                  <a:lnTo>
                    <a:pt x="12" y="43"/>
                  </a:lnTo>
                  <a:cubicBezTo>
                    <a:pt x="12" y="39"/>
                    <a:pt x="15" y="37"/>
                    <a:pt x="18" y="37"/>
                  </a:cubicBezTo>
                  <a:lnTo>
                    <a:pt x="50" y="37"/>
                  </a:lnTo>
                  <a:lnTo>
                    <a:pt x="50" y="55"/>
                  </a:lnTo>
                  <a:cubicBezTo>
                    <a:pt x="50" y="59"/>
                    <a:pt x="52" y="62"/>
                    <a:pt x="56" y="62"/>
                  </a:cubicBezTo>
                  <a:lnTo>
                    <a:pt x="168" y="62"/>
                  </a:lnTo>
                  <a:cubicBezTo>
                    <a:pt x="172" y="62"/>
                    <a:pt x="175" y="59"/>
                    <a:pt x="175" y="55"/>
                  </a:cubicBezTo>
                  <a:lnTo>
                    <a:pt x="175" y="37"/>
                  </a:lnTo>
                  <a:lnTo>
                    <a:pt x="206" y="37"/>
                  </a:lnTo>
                  <a:cubicBezTo>
                    <a:pt x="209" y="37"/>
                    <a:pt x="212" y="39"/>
                    <a:pt x="212" y="43"/>
                  </a:cubicBezTo>
                  <a:lnTo>
                    <a:pt x="212" y="280"/>
                  </a:lnTo>
                  <a:close/>
                </a:path>
              </a:pathLst>
            </a:custGeom>
            <a:grpFill/>
            <a:ln w="3175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POWER_USER_ID_ICONS_Clipboard3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25" y="245"/>
              <a:ext cx="201" cy="17"/>
            </a:xfrm>
            <a:custGeom>
              <a:avLst/>
              <a:gdLst>
                <a:gd name="T0" fmla="*/ 132 w 138"/>
                <a:gd name="T1" fmla="*/ 12 h 12"/>
                <a:gd name="T2" fmla="*/ 7 w 138"/>
                <a:gd name="T3" fmla="*/ 12 h 12"/>
                <a:gd name="T4" fmla="*/ 0 w 138"/>
                <a:gd name="T5" fmla="*/ 6 h 12"/>
                <a:gd name="T6" fmla="*/ 7 w 138"/>
                <a:gd name="T7" fmla="*/ 0 h 12"/>
                <a:gd name="T8" fmla="*/ 132 w 138"/>
                <a:gd name="T9" fmla="*/ 0 h 12"/>
                <a:gd name="T10" fmla="*/ 138 w 138"/>
                <a:gd name="T11" fmla="*/ 6 h 12"/>
                <a:gd name="T12" fmla="*/ 132 w 13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" h="12">
                  <a:moveTo>
                    <a:pt x="132" y="12"/>
                  </a:moveTo>
                  <a:lnTo>
                    <a:pt x="7" y="12"/>
                  </a:ln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7" y="0"/>
                  </a:cubicBezTo>
                  <a:lnTo>
                    <a:pt x="132" y="0"/>
                  </a:lnTo>
                  <a:cubicBezTo>
                    <a:pt x="135" y="0"/>
                    <a:pt x="138" y="2"/>
                    <a:pt x="138" y="6"/>
                  </a:cubicBezTo>
                  <a:cubicBezTo>
                    <a:pt x="138" y="9"/>
                    <a:pt x="135" y="12"/>
                    <a:pt x="132" y="12"/>
                  </a:cubicBezTo>
                  <a:close/>
                </a:path>
              </a:pathLst>
            </a:custGeom>
            <a:grpFill/>
            <a:ln w="3175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POWER_USER_ID_ICONS_Clipboard3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25" y="299"/>
              <a:ext cx="201" cy="19"/>
            </a:xfrm>
            <a:custGeom>
              <a:avLst/>
              <a:gdLst>
                <a:gd name="T0" fmla="*/ 132 w 138"/>
                <a:gd name="T1" fmla="*/ 13 h 13"/>
                <a:gd name="T2" fmla="*/ 7 w 138"/>
                <a:gd name="T3" fmla="*/ 13 h 13"/>
                <a:gd name="T4" fmla="*/ 0 w 138"/>
                <a:gd name="T5" fmla="*/ 6 h 13"/>
                <a:gd name="T6" fmla="*/ 7 w 138"/>
                <a:gd name="T7" fmla="*/ 0 h 13"/>
                <a:gd name="T8" fmla="*/ 132 w 138"/>
                <a:gd name="T9" fmla="*/ 0 h 13"/>
                <a:gd name="T10" fmla="*/ 138 w 138"/>
                <a:gd name="T11" fmla="*/ 6 h 13"/>
                <a:gd name="T12" fmla="*/ 132 w 138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" h="13">
                  <a:moveTo>
                    <a:pt x="132" y="13"/>
                  </a:moveTo>
                  <a:lnTo>
                    <a:pt x="7" y="13"/>
                  </a:ln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7" y="0"/>
                  </a:cubicBezTo>
                  <a:lnTo>
                    <a:pt x="132" y="0"/>
                  </a:lnTo>
                  <a:cubicBezTo>
                    <a:pt x="135" y="0"/>
                    <a:pt x="138" y="3"/>
                    <a:pt x="138" y="6"/>
                  </a:cubicBezTo>
                  <a:cubicBezTo>
                    <a:pt x="138" y="10"/>
                    <a:pt x="135" y="13"/>
                    <a:pt x="132" y="13"/>
                  </a:cubicBezTo>
                  <a:close/>
                </a:path>
              </a:pathLst>
            </a:custGeom>
            <a:grpFill/>
            <a:ln w="3175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POWER_USER_ID_ICONS_Clipboard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25" y="354"/>
              <a:ext cx="109" cy="17"/>
            </a:xfrm>
            <a:custGeom>
              <a:avLst/>
              <a:gdLst>
                <a:gd name="T0" fmla="*/ 69 w 75"/>
                <a:gd name="T1" fmla="*/ 12 h 12"/>
                <a:gd name="T2" fmla="*/ 7 w 75"/>
                <a:gd name="T3" fmla="*/ 12 h 12"/>
                <a:gd name="T4" fmla="*/ 0 w 75"/>
                <a:gd name="T5" fmla="*/ 6 h 12"/>
                <a:gd name="T6" fmla="*/ 7 w 75"/>
                <a:gd name="T7" fmla="*/ 0 h 12"/>
                <a:gd name="T8" fmla="*/ 69 w 75"/>
                <a:gd name="T9" fmla="*/ 0 h 12"/>
                <a:gd name="T10" fmla="*/ 75 w 75"/>
                <a:gd name="T11" fmla="*/ 6 h 12"/>
                <a:gd name="T12" fmla="*/ 69 w 7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2">
                  <a:moveTo>
                    <a:pt x="69" y="12"/>
                  </a:moveTo>
                  <a:lnTo>
                    <a:pt x="7" y="12"/>
                  </a:ln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7" y="0"/>
                  </a:cubicBezTo>
                  <a:lnTo>
                    <a:pt x="69" y="0"/>
                  </a:lnTo>
                  <a:cubicBezTo>
                    <a:pt x="72" y="0"/>
                    <a:pt x="75" y="2"/>
                    <a:pt x="75" y="6"/>
                  </a:cubicBezTo>
                  <a:cubicBezTo>
                    <a:pt x="75" y="9"/>
                    <a:pt x="72" y="12"/>
                    <a:pt x="69" y="12"/>
                  </a:cubicBezTo>
                  <a:close/>
                </a:path>
              </a:pathLst>
            </a:custGeom>
            <a:grpFill/>
            <a:ln w="3175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8" name="Freeform: Shape 47"/>
          <p:cNvSpPr>
            <a:spLocks noChangeAspect="1"/>
          </p:cNvSpPr>
          <p:nvPr/>
        </p:nvSpPr>
        <p:spPr>
          <a:xfrm rot="10800000">
            <a:off x="405606" y="2902078"/>
            <a:ext cx="914400" cy="1056685"/>
          </a:xfrm>
          <a:custGeom>
            <a:avLst/>
            <a:gdLst>
              <a:gd name="connsiteX0" fmla="*/ 457200 w 914400"/>
              <a:gd name="connsiteY0" fmla="*/ 1056685 h 1056685"/>
              <a:gd name="connsiteX1" fmla="*/ 0 w 914400"/>
              <a:gd name="connsiteY1" fmla="*/ 599485 h 1056685"/>
              <a:gd name="connsiteX2" fmla="*/ 365058 w 914400"/>
              <a:gd name="connsiteY2" fmla="*/ 151574 h 1056685"/>
              <a:gd name="connsiteX3" fmla="*/ 369549 w 914400"/>
              <a:gd name="connsiteY3" fmla="*/ 151121 h 1056685"/>
              <a:gd name="connsiteX4" fmla="*/ 457199 w 914400"/>
              <a:gd name="connsiteY4" fmla="*/ 0 h 1056685"/>
              <a:gd name="connsiteX5" fmla="*/ 544849 w 914400"/>
              <a:gd name="connsiteY5" fmla="*/ 151121 h 1056685"/>
              <a:gd name="connsiteX6" fmla="*/ 549342 w 914400"/>
              <a:gd name="connsiteY6" fmla="*/ 151574 h 1056685"/>
              <a:gd name="connsiteX7" fmla="*/ 914400 w 914400"/>
              <a:gd name="connsiteY7" fmla="*/ 599485 h 1056685"/>
              <a:gd name="connsiteX8" fmla="*/ 457200 w 914400"/>
              <a:gd name="connsiteY8" fmla="*/ 1056685 h 1056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" h="1056685">
                <a:moveTo>
                  <a:pt x="457200" y="1056685"/>
                </a:moveTo>
                <a:cubicBezTo>
                  <a:pt x="204695" y="1056685"/>
                  <a:pt x="0" y="851990"/>
                  <a:pt x="0" y="599485"/>
                </a:cubicBezTo>
                <a:cubicBezTo>
                  <a:pt x="0" y="378543"/>
                  <a:pt x="156720" y="194206"/>
                  <a:pt x="365058" y="151574"/>
                </a:cubicBezTo>
                <a:lnTo>
                  <a:pt x="369549" y="151121"/>
                </a:lnTo>
                <a:lnTo>
                  <a:pt x="457199" y="0"/>
                </a:lnTo>
                <a:lnTo>
                  <a:pt x="544849" y="151121"/>
                </a:lnTo>
                <a:lnTo>
                  <a:pt x="549342" y="151574"/>
                </a:lnTo>
                <a:cubicBezTo>
                  <a:pt x="757680" y="194206"/>
                  <a:pt x="914400" y="378543"/>
                  <a:pt x="914400" y="599485"/>
                </a:cubicBezTo>
                <a:cubicBezTo>
                  <a:pt x="914400" y="851990"/>
                  <a:pt x="709705" y="1056685"/>
                  <a:pt x="457200" y="1056685"/>
                </a:cubicBezTo>
                <a:close/>
              </a:path>
            </a:pathLst>
          </a:cu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Freeform: Shape 48"/>
          <p:cNvSpPr>
            <a:spLocks noChangeAspect="1"/>
          </p:cNvSpPr>
          <p:nvPr/>
        </p:nvSpPr>
        <p:spPr>
          <a:xfrm rot="10800000">
            <a:off x="5646667" y="4099622"/>
            <a:ext cx="914400" cy="1056685"/>
          </a:xfrm>
          <a:custGeom>
            <a:avLst/>
            <a:gdLst>
              <a:gd name="connsiteX0" fmla="*/ 457200 w 914400"/>
              <a:gd name="connsiteY0" fmla="*/ 1056685 h 1056685"/>
              <a:gd name="connsiteX1" fmla="*/ 0 w 914400"/>
              <a:gd name="connsiteY1" fmla="*/ 599485 h 1056685"/>
              <a:gd name="connsiteX2" fmla="*/ 365058 w 914400"/>
              <a:gd name="connsiteY2" fmla="*/ 151574 h 1056685"/>
              <a:gd name="connsiteX3" fmla="*/ 369549 w 914400"/>
              <a:gd name="connsiteY3" fmla="*/ 151121 h 1056685"/>
              <a:gd name="connsiteX4" fmla="*/ 457199 w 914400"/>
              <a:gd name="connsiteY4" fmla="*/ 0 h 1056685"/>
              <a:gd name="connsiteX5" fmla="*/ 544849 w 914400"/>
              <a:gd name="connsiteY5" fmla="*/ 151121 h 1056685"/>
              <a:gd name="connsiteX6" fmla="*/ 549342 w 914400"/>
              <a:gd name="connsiteY6" fmla="*/ 151574 h 1056685"/>
              <a:gd name="connsiteX7" fmla="*/ 914400 w 914400"/>
              <a:gd name="connsiteY7" fmla="*/ 599485 h 1056685"/>
              <a:gd name="connsiteX8" fmla="*/ 457200 w 914400"/>
              <a:gd name="connsiteY8" fmla="*/ 1056685 h 1056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" h="1056685">
                <a:moveTo>
                  <a:pt x="457200" y="1056685"/>
                </a:moveTo>
                <a:cubicBezTo>
                  <a:pt x="204695" y="1056685"/>
                  <a:pt x="0" y="851990"/>
                  <a:pt x="0" y="599485"/>
                </a:cubicBezTo>
                <a:cubicBezTo>
                  <a:pt x="0" y="378543"/>
                  <a:pt x="156720" y="194206"/>
                  <a:pt x="365058" y="151574"/>
                </a:cubicBezTo>
                <a:lnTo>
                  <a:pt x="369549" y="151121"/>
                </a:lnTo>
                <a:lnTo>
                  <a:pt x="457199" y="0"/>
                </a:lnTo>
                <a:lnTo>
                  <a:pt x="544849" y="151121"/>
                </a:lnTo>
                <a:lnTo>
                  <a:pt x="549342" y="151574"/>
                </a:lnTo>
                <a:cubicBezTo>
                  <a:pt x="757680" y="194206"/>
                  <a:pt x="914400" y="378543"/>
                  <a:pt x="914400" y="599485"/>
                </a:cubicBezTo>
                <a:cubicBezTo>
                  <a:pt x="914400" y="851990"/>
                  <a:pt x="709705" y="1056685"/>
                  <a:pt x="457200" y="1056685"/>
                </a:cubicBezTo>
                <a:close/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Freeform: Shape 49"/>
          <p:cNvSpPr>
            <a:spLocks noChangeAspect="1"/>
          </p:cNvSpPr>
          <p:nvPr/>
        </p:nvSpPr>
        <p:spPr>
          <a:xfrm rot="10800000">
            <a:off x="5738298" y="1974852"/>
            <a:ext cx="624548" cy="721731"/>
          </a:xfrm>
          <a:custGeom>
            <a:avLst/>
            <a:gdLst>
              <a:gd name="connsiteX0" fmla="*/ 457200 w 914400"/>
              <a:gd name="connsiteY0" fmla="*/ 1056685 h 1056685"/>
              <a:gd name="connsiteX1" fmla="*/ 0 w 914400"/>
              <a:gd name="connsiteY1" fmla="*/ 599485 h 1056685"/>
              <a:gd name="connsiteX2" fmla="*/ 365058 w 914400"/>
              <a:gd name="connsiteY2" fmla="*/ 151574 h 1056685"/>
              <a:gd name="connsiteX3" fmla="*/ 369549 w 914400"/>
              <a:gd name="connsiteY3" fmla="*/ 151121 h 1056685"/>
              <a:gd name="connsiteX4" fmla="*/ 457199 w 914400"/>
              <a:gd name="connsiteY4" fmla="*/ 0 h 1056685"/>
              <a:gd name="connsiteX5" fmla="*/ 544849 w 914400"/>
              <a:gd name="connsiteY5" fmla="*/ 151121 h 1056685"/>
              <a:gd name="connsiteX6" fmla="*/ 549342 w 914400"/>
              <a:gd name="connsiteY6" fmla="*/ 151574 h 1056685"/>
              <a:gd name="connsiteX7" fmla="*/ 914400 w 914400"/>
              <a:gd name="connsiteY7" fmla="*/ 599485 h 1056685"/>
              <a:gd name="connsiteX8" fmla="*/ 457200 w 914400"/>
              <a:gd name="connsiteY8" fmla="*/ 1056685 h 1056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" h="1056685">
                <a:moveTo>
                  <a:pt x="457200" y="1056685"/>
                </a:moveTo>
                <a:cubicBezTo>
                  <a:pt x="204695" y="1056685"/>
                  <a:pt x="0" y="851990"/>
                  <a:pt x="0" y="599485"/>
                </a:cubicBezTo>
                <a:cubicBezTo>
                  <a:pt x="0" y="378543"/>
                  <a:pt x="156720" y="194206"/>
                  <a:pt x="365058" y="151574"/>
                </a:cubicBezTo>
                <a:lnTo>
                  <a:pt x="369549" y="151121"/>
                </a:lnTo>
                <a:lnTo>
                  <a:pt x="457199" y="0"/>
                </a:lnTo>
                <a:lnTo>
                  <a:pt x="544849" y="151121"/>
                </a:lnTo>
                <a:lnTo>
                  <a:pt x="549342" y="151574"/>
                </a:lnTo>
                <a:cubicBezTo>
                  <a:pt x="757680" y="194206"/>
                  <a:pt x="914400" y="378543"/>
                  <a:pt x="914400" y="599485"/>
                </a:cubicBezTo>
                <a:cubicBezTo>
                  <a:pt x="914400" y="851990"/>
                  <a:pt x="709705" y="1056685"/>
                  <a:pt x="457200" y="1056685"/>
                </a:cubicBezTo>
                <a:close/>
              </a:path>
            </a:pathLst>
          </a:cu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Freeform: Shape 50"/>
          <p:cNvSpPr>
            <a:spLocks noChangeAspect="1"/>
          </p:cNvSpPr>
          <p:nvPr/>
        </p:nvSpPr>
        <p:spPr>
          <a:xfrm rot="10800000">
            <a:off x="4070667" y="1627950"/>
            <a:ext cx="387795" cy="448138"/>
          </a:xfrm>
          <a:custGeom>
            <a:avLst/>
            <a:gdLst>
              <a:gd name="connsiteX0" fmla="*/ 457200 w 914400"/>
              <a:gd name="connsiteY0" fmla="*/ 1056685 h 1056685"/>
              <a:gd name="connsiteX1" fmla="*/ 0 w 914400"/>
              <a:gd name="connsiteY1" fmla="*/ 599485 h 1056685"/>
              <a:gd name="connsiteX2" fmla="*/ 365058 w 914400"/>
              <a:gd name="connsiteY2" fmla="*/ 151574 h 1056685"/>
              <a:gd name="connsiteX3" fmla="*/ 369549 w 914400"/>
              <a:gd name="connsiteY3" fmla="*/ 151121 h 1056685"/>
              <a:gd name="connsiteX4" fmla="*/ 457199 w 914400"/>
              <a:gd name="connsiteY4" fmla="*/ 0 h 1056685"/>
              <a:gd name="connsiteX5" fmla="*/ 544849 w 914400"/>
              <a:gd name="connsiteY5" fmla="*/ 151121 h 1056685"/>
              <a:gd name="connsiteX6" fmla="*/ 549342 w 914400"/>
              <a:gd name="connsiteY6" fmla="*/ 151574 h 1056685"/>
              <a:gd name="connsiteX7" fmla="*/ 914400 w 914400"/>
              <a:gd name="connsiteY7" fmla="*/ 599485 h 1056685"/>
              <a:gd name="connsiteX8" fmla="*/ 457200 w 914400"/>
              <a:gd name="connsiteY8" fmla="*/ 1056685 h 1056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" h="1056685">
                <a:moveTo>
                  <a:pt x="457200" y="1056685"/>
                </a:moveTo>
                <a:cubicBezTo>
                  <a:pt x="204695" y="1056685"/>
                  <a:pt x="0" y="851990"/>
                  <a:pt x="0" y="599485"/>
                </a:cubicBezTo>
                <a:cubicBezTo>
                  <a:pt x="0" y="378543"/>
                  <a:pt x="156720" y="194206"/>
                  <a:pt x="365058" y="151574"/>
                </a:cubicBezTo>
                <a:lnTo>
                  <a:pt x="369549" y="151121"/>
                </a:lnTo>
                <a:lnTo>
                  <a:pt x="457199" y="0"/>
                </a:lnTo>
                <a:lnTo>
                  <a:pt x="544849" y="151121"/>
                </a:lnTo>
                <a:lnTo>
                  <a:pt x="549342" y="151574"/>
                </a:lnTo>
                <a:cubicBezTo>
                  <a:pt x="757680" y="194206"/>
                  <a:pt x="914400" y="378543"/>
                  <a:pt x="914400" y="599485"/>
                </a:cubicBezTo>
                <a:cubicBezTo>
                  <a:pt x="914400" y="851990"/>
                  <a:pt x="709705" y="1056685"/>
                  <a:pt x="457200" y="1056685"/>
                </a:cubicBezTo>
                <a:close/>
              </a:path>
            </a:pathLst>
          </a:cu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Freeform: Shape 51"/>
          <p:cNvSpPr>
            <a:spLocks noChangeAspect="1"/>
          </p:cNvSpPr>
          <p:nvPr/>
        </p:nvSpPr>
        <p:spPr>
          <a:xfrm rot="10800000">
            <a:off x="5887335" y="1245983"/>
            <a:ext cx="387795" cy="448138"/>
          </a:xfrm>
          <a:custGeom>
            <a:avLst/>
            <a:gdLst>
              <a:gd name="connsiteX0" fmla="*/ 457200 w 914400"/>
              <a:gd name="connsiteY0" fmla="*/ 1056685 h 1056685"/>
              <a:gd name="connsiteX1" fmla="*/ 0 w 914400"/>
              <a:gd name="connsiteY1" fmla="*/ 599485 h 1056685"/>
              <a:gd name="connsiteX2" fmla="*/ 365058 w 914400"/>
              <a:gd name="connsiteY2" fmla="*/ 151574 h 1056685"/>
              <a:gd name="connsiteX3" fmla="*/ 369549 w 914400"/>
              <a:gd name="connsiteY3" fmla="*/ 151121 h 1056685"/>
              <a:gd name="connsiteX4" fmla="*/ 457199 w 914400"/>
              <a:gd name="connsiteY4" fmla="*/ 0 h 1056685"/>
              <a:gd name="connsiteX5" fmla="*/ 544849 w 914400"/>
              <a:gd name="connsiteY5" fmla="*/ 151121 h 1056685"/>
              <a:gd name="connsiteX6" fmla="*/ 549342 w 914400"/>
              <a:gd name="connsiteY6" fmla="*/ 151574 h 1056685"/>
              <a:gd name="connsiteX7" fmla="*/ 914400 w 914400"/>
              <a:gd name="connsiteY7" fmla="*/ 599485 h 1056685"/>
              <a:gd name="connsiteX8" fmla="*/ 457200 w 914400"/>
              <a:gd name="connsiteY8" fmla="*/ 1056685 h 1056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400" h="1056685">
                <a:moveTo>
                  <a:pt x="457200" y="1056685"/>
                </a:moveTo>
                <a:cubicBezTo>
                  <a:pt x="204695" y="1056685"/>
                  <a:pt x="0" y="851990"/>
                  <a:pt x="0" y="599485"/>
                </a:cubicBezTo>
                <a:cubicBezTo>
                  <a:pt x="0" y="378543"/>
                  <a:pt x="156720" y="194206"/>
                  <a:pt x="365058" y="151574"/>
                </a:cubicBezTo>
                <a:lnTo>
                  <a:pt x="369549" y="151121"/>
                </a:lnTo>
                <a:lnTo>
                  <a:pt x="457199" y="0"/>
                </a:lnTo>
                <a:lnTo>
                  <a:pt x="544849" y="151121"/>
                </a:lnTo>
                <a:lnTo>
                  <a:pt x="549342" y="151574"/>
                </a:lnTo>
                <a:cubicBezTo>
                  <a:pt x="757680" y="194206"/>
                  <a:pt x="914400" y="378543"/>
                  <a:pt x="914400" y="599485"/>
                </a:cubicBezTo>
                <a:cubicBezTo>
                  <a:pt x="914400" y="851990"/>
                  <a:pt x="709705" y="1056685"/>
                  <a:pt x="457200" y="1056685"/>
                </a:cubicBezTo>
                <a:close/>
              </a:path>
            </a:pathLst>
          </a:custGeom>
          <a:noFill/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735071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54048" y="3693620"/>
            <a:ext cx="10883905" cy="42672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014301" y="2928573"/>
            <a:ext cx="645046" cy="1061538"/>
            <a:chOff x="2912374" y="4175482"/>
            <a:chExt cx="645046" cy="1061538"/>
          </a:xfrm>
        </p:grpSpPr>
        <p:sp>
          <p:nvSpPr>
            <p:cNvPr id="6" name="Arrow: Down 5"/>
            <p:cNvSpPr/>
            <p:nvPr/>
          </p:nvSpPr>
          <p:spPr>
            <a:xfrm>
              <a:off x="2912374" y="4258612"/>
              <a:ext cx="645046" cy="978408"/>
            </a:xfrm>
            <a:prstGeom prst="down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Arrow: Down 6"/>
            <p:cNvSpPr/>
            <p:nvPr/>
          </p:nvSpPr>
          <p:spPr>
            <a:xfrm>
              <a:off x="2992581" y="4175482"/>
              <a:ext cx="484632" cy="978408"/>
            </a:xfrm>
            <a:prstGeom prst="downArrow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2917971" y="2928573"/>
            <a:ext cx="645046" cy="1061538"/>
            <a:chOff x="4094910" y="4175482"/>
            <a:chExt cx="645046" cy="1061538"/>
          </a:xfrm>
        </p:grpSpPr>
        <p:sp>
          <p:nvSpPr>
            <p:cNvPr id="9" name="Arrow: Down 8"/>
            <p:cNvSpPr/>
            <p:nvPr/>
          </p:nvSpPr>
          <p:spPr>
            <a:xfrm>
              <a:off x="4094910" y="4258612"/>
              <a:ext cx="645046" cy="978408"/>
            </a:xfrm>
            <a:prstGeom prst="down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Arrow: Down 9"/>
            <p:cNvSpPr/>
            <p:nvPr/>
          </p:nvSpPr>
          <p:spPr>
            <a:xfrm>
              <a:off x="4175117" y="4175482"/>
              <a:ext cx="484632" cy="978408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21641" y="2928573"/>
            <a:ext cx="645046" cy="1061538"/>
            <a:chOff x="5277446" y="4175482"/>
            <a:chExt cx="645046" cy="1061538"/>
          </a:xfrm>
        </p:grpSpPr>
        <p:sp>
          <p:nvSpPr>
            <p:cNvPr id="12" name="Arrow: Down 11"/>
            <p:cNvSpPr/>
            <p:nvPr/>
          </p:nvSpPr>
          <p:spPr>
            <a:xfrm>
              <a:off x="5277446" y="4258612"/>
              <a:ext cx="645046" cy="978408"/>
            </a:xfrm>
            <a:prstGeom prst="down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Arrow: Down 12"/>
            <p:cNvSpPr/>
            <p:nvPr/>
          </p:nvSpPr>
          <p:spPr>
            <a:xfrm>
              <a:off x="5357653" y="4175482"/>
              <a:ext cx="484632" cy="978408"/>
            </a:xfrm>
            <a:prstGeom prst="down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6725311" y="2928573"/>
            <a:ext cx="645046" cy="1061538"/>
            <a:chOff x="6459982" y="4175482"/>
            <a:chExt cx="645046" cy="1061538"/>
          </a:xfrm>
        </p:grpSpPr>
        <p:sp>
          <p:nvSpPr>
            <p:cNvPr id="15" name="Arrow: Down 14"/>
            <p:cNvSpPr/>
            <p:nvPr/>
          </p:nvSpPr>
          <p:spPr>
            <a:xfrm>
              <a:off x="6459982" y="4258612"/>
              <a:ext cx="645046" cy="978408"/>
            </a:xfrm>
            <a:prstGeom prst="down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Arrow: Down 15"/>
            <p:cNvSpPr/>
            <p:nvPr/>
          </p:nvSpPr>
          <p:spPr>
            <a:xfrm>
              <a:off x="6540189" y="4175482"/>
              <a:ext cx="484632" cy="978408"/>
            </a:xfrm>
            <a:prstGeom prst="down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8628981" y="2928573"/>
            <a:ext cx="645046" cy="1061538"/>
            <a:chOff x="7642518" y="4175482"/>
            <a:chExt cx="645046" cy="1061538"/>
          </a:xfrm>
        </p:grpSpPr>
        <p:sp>
          <p:nvSpPr>
            <p:cNvPr id="18" name="Arrow: Down 17"/>
            <p:cNvSpPr/>
            <p:nvPr/>
          </p:nvSpPr>
          <p:spPr>
            <a:xfrm>
              <a:off x="7642518" y="4258612"/>
              <a:ext cx="645046" cy="978408"/>
            </a:xfrm>
            <a:prstGeom prst="down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Arrow: Down 18"/>
            <p:cNvSpPr/>
            <p:nvPr/>
          </p:nvSpPr>
          <p:spPr>
            <a:xfrm>
              <a:off x="7722725" y="4175482"/>
              <a:ext cx="484632" cy="978408"/>
            </a:xfrm>
            <a:prstGeom prst="down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10532653" y="2928573"/>
            <a:ext cx="645046" cy="1061538"/>
            <a:chOff x="8825054" y="4175482"/>
            <a:chExt cx="645046" cy="1061538"/>
          </a:xfrm>
        </p:grpSpPr>
        <p:sp>
          <p:nvSpPr>
            <p:cNvPr id="21" name="Arrow: Down 20"/>
            <p:cNvSpPr/>
            <p:nvPr/>
          </p:nvSpPr>
          <p:spPr>
            <a:xfrm>
              <a:off x="8825054" y="4258612"/>
              <a:ext cx="645046" cy="978408"/>
            </a:xfrm>
            <a:prstGeom prst="down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Arrow: Down 21"/>
            <p:cNvSpPr/>
            <p:nvPr/>
          </p:nvSpPr>
          <p:spPr>
            <a:xfrm>
              <a:off x="8905261" y="4175482"/>
              <a:ext cx="484632" cy="978408"/>
            </a:xfrm>
            <a:prstGeom prst="downArrow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432241" y="1864764"/>
            <a:ext cx="183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srupting startup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330545" y="1864764"/>
            <a:ext cx="183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DA2B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ice pressure from competitor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228849" y="1864764"/>
            <a:ext cx="183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DA1F2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re demanding client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127153" y="1864764"/>
            <a:ext cx="183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B641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gulatory constraint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8025457" y="1864764"/>
            <a:ext cx="183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9639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owing product complexity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9923759" y="1864764"/>
            <a:ext cx="183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74B7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re expensive raw material</a:t>
            </a:r>
          </a:p>
        </p:txBody>
      </p:sp>
      <p:grpSp>
        <p:nvGrpSpPr>
          <p:cNvPr id="52" name="Group 51"/>
          <p:cNvGrpSpPr/>
          <p:nvPr/>
        </p:nvGrpSpPr>
        <p:grpSpPr>
          <a:xfrm>
            <a:off x="1027718" y="4121165"/>
            <a:ext cx="645046" cy="1549015"/>
            <a:chOff x="1014301" y="4121165"/>
            <a:chExt cx="645046" cy="1549015"/>
          </a:xfrm>
        </p:grpSpPr>
        <p:sp>
          <p:nvSpPr>
            <p:cNvPr id="29" name="Rectangle 28"/>
            <p:cNvSpPr/>
            <p:nvPr/>
          </p:nvSpPr>
          <p:spPr>
            <a:xfrm>
              <a:off x="1014301" y="4121165"/>
              <a:ext cx="645046" cy="16625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1266634" y="4181471"/>
              <a:ext cx="140381" cy="148870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4837743" y="4119519"/>
            <a:ext cx="645046" cy="1549015"/>
            <a:chOff x="4837743" y="4119519"/>
            <a:chExt cx="645046" cy="1549015"/>
          </a:xfrm>
        </p:grpSpPr>
        <p:sp>
          <p:nvSpPr>
            <p:cNvPr id="38" name="Rectangle 37"/>
            <p:cNvSpPr/>
            <p:nvPr/>
          </p:nvSpPr>
          <p:spPr>
            <a:xfrm>
              <a:off x="4837743" y="4119519"/>
              <a:ext cx="645046" cy="16625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5090076" y="4179825"/>
              <a:ext cx="140381" cy="148870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10519236" y="4117050"/>
            <a:ext cx="645046" cy="1549015"/>
            <a:chOff x="10572906" y="4117050"/>
            <a:chExt cx="645046" cy="1549015"/>
          </a:xfrm>
        </p:grpSpPr>
        <p:sp>
          <p:nvSpPr>
            <p:cNvPr id="47" name="Rectangle 46"/>
            <p:cNvSpPr/>
            <p:nvPr/>
          </p:nvSpPr>
          <p:spPr>
            <a:xfrm>
              <a:off x="10572906" y="4117050"/>
              <a:ext cx="645046" cy="16625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10825239" y="4177356"/>
              <a:ext cx="140381" cy="148870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9" name="TextBox 48"/>
          <p:cNvSpPr txBox="1"/>
          <p:nvPr/>
        </p:nvSpPr>
        <p:spPr>
          <a:xfrm>
            <a:off x="4226164" y="5728017"/>
            <a:ext cx="183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st-in-class customer service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418824" y="5728017"/>
            <a:ext cx="183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gh barriers to entry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9937176" y="5741871"/>
            <a:ext cx="183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tical integration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9F1CD6D1-F76A-6A92-8330-7A1536EE5D22}"/>
              </a:ext>
            </a:extLst>
          </p:cNvPr>
          <p:cNvSpPr txBox="1">
            <a:spLocks/>
          </p:cNvSpPr>
          <p:nvPr/>
        </p:nvSpPr>
        <p:spPr>
          <a:xfrm>
            <a:off x="171077" y="183724"/>
            <a:ext cx="4666666" cy="816363"/>
          </a:xfrm>
          <a:prstGeom prst="rect">
            <a:avLst/>
          </a:prstGeom>
          <a:effectLst/>
        </p:spPr>
        <p:txBody>
          <a:bodyPr vert="horz" lIns="91440" tIns="45720" rIns="91440" bIns="45720" rtlCol="0" anchor="b">
            <a:normAutofit fontScale="77500" lnSpcReduction="20000"/>
          </a:bodyPr>
          <a:lstStyle>
            <a:lvl1pPr algn="r" defTabSz="457200" rtl="0" eaLnBrk="1" latinLnBrk="0" hangingPunct="1">
              <a:spcBef>
                <a:spcPct val="0"/>
              </a:spcBef>
              <a:buNone/>
              <a:defRPr sz="4800" kern="1200" cap="all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IN" dirty="0"/>
              <a:t>MIGRATION Approach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44534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897DF8-F068-FBC5-9184-E54E1B3E71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Key Points of SUMMARY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209796-ECF5-ABDB-4370-2F644DDC0E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/>
              <a:t>Phase I – Lift &amp; Shift </a:t>
            </a:r>
          </a:p>
          <a:p>
            <a:r>
              <a:rPr lang="en-IN" dirty="0"/>
              <a:t>Phase II – Modernize , Refactor, Redesign Apps. </a:t>
            </a:r>
          </a:p>
        </p:txBody>
      </p:sp>
    </p:spTree>
    <p:extLst>
      <p:ext uri="{BB962C8B-B14F-4D97-AF65-F5344CB8AC3E}">
        <p14:creationId xmlns:p14="http://schemas.microsoft.com/office/powerpoint/2010/main" val="2830054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Roadmap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_POWER_USER_SEPARATOR_ICONS_favorite_POWER_USER_SEPARATOR_ICONS_pole_POWER_USER_SEPARATOR_ICONS_rating_POWER_USER_SEPARATOR_ICONS_star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_POWER_USER_SEPARATOR_ICONS_favorite_POWER_USER_SEPARATOR_ICONS_pole_POWER_USER_SEPARATOR_ICONS_rating_POWER_USER_SEPARATOR_ICONS_star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arth_POWER_USER_SEPARATOR_ICONS_global_POWER_USER_SEPARATOR_ICONS_planet_POWER_USER_SEPARATOR_ICONS_wor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arth_POWER_USER_SEPARATOR_ICONS_global_POWER_USER_SEPARATOR_ICONS_planet_POWER_USER_SEPARATOR_ICONS_wor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overnment_POWER_USER_SEPARATOR_ICONS_bank_POWER_USER_SEPARATOR_ICONS_building_POWER_USER_SEPARATOR_ICONS_pillars_POWER_USER_SEPARATOR_ICONS_politic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overnment_POWER_USER_SEPARATOR_ICONS_bank_POWER_USER_SEPARATOR_ICONS_building_POWER_USER_SEPARATOR_ICONS_pillars_POWER_USER_SEPARATOR_ICONS_politic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dvocacy_POWER_USER_SEPARATOR_ICONS_activity_POWER_USER_SEPARATOR_ICONS_humanitarian_POWER_USER_SEPARATOR_ICONS_leadership_POWER_USER_SEPARATOR_ICONS_voic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Pressur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overnment_POWER_USER_SEPARATOR_ICONS_bank_POWER_USER_SEPARATOR_ICONS_building_POWER_USER_SEPARATOR_ICONS_pillars_POWER_USER_SEPARATOR_ICONS_politic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arth_POWER_USER_SEPARATOR_ICONS_global_POWER_USER_SEPARATOR_ICONS_planet_POWER_USER_SEPARATOR_ICONS_wor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_POWER_USER_SEPARATOR_ICONS_favorite_POWER_USER_SEPARATOR_ICONS_pole_POWER_USER_SEPARATOR_ICONS_rating_POWER_USER_SEPARATOR_ICONS_star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elestial">
  <a:themeElements>
    <a:clrScheme name="Celestial">
      <a:dk1>
        <a:sysClr val="windowText" lastClr="000000"/>
      </a:dk1>
      <a:lt1>
        <a:sysClr val="window" lastClr="FFFFFF"/>
      </a:lt1>
      <a:dk2>
        <a:srgbClr val="18276C"/>
      </a:dk2>
      <a:lt2>
        <a:srgbClr val="EBEBEB"/>
      </a:lt2>
      <a:accent1>
        <a:srgbClr val="AC3EC1"/>
      </a:accent1>
      <a:accent2>
        <a:srgbClr val="477BD1"/>
      </a:accent2>
      <a:accent3>
        <a:srgbClr val="46B298"/>
      </a:accent3>
      <a:accent4>
        <a:srgbClr val="90BA4C"/>
      </a:accent4>
      <a:accent5>
        <a:srgbClr val="DD9D31"/>
      </a:accent5>
      <a:accent6>
        <a:srgbClr val="E25247"/>
      </a:accent6>
      <a:hlink>
        <a:srgbClr val="C573D2"/>
      </a:hlink>
      <a:folHlink>
        <a:srgbClr val="CCAEE8"/>
      </a:folHlink>
    </a:clrScheme>
    <a:fontScheme name="Celestial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elestial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lumMod val="110000"/>
              </a:schemeClr>
            </a:gs>
            <a:gs pos="100000">
              <a:schemeClr val="phClr">
                <a:tint val="82000"/>
                <a:alpha val="74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00000"/>
              </a:schemeClr>
            </a:gs>
            <a:gs pos="100000">
              <a:schemeClr val="phClr">
                <a:shade val="88000"/>
                <a:lumMod val="88000"/>
              </a:schemeClr>
            </a:gs>
          </a:gsLst>
          <a:lin ang="5400000" scaled="1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5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127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shade val="96000"/>
                <a:hueMod val="100000"/>
                <a:satMod val="180000"/>
                <a:lumMod val="110000"/>
              </a:schemeClr>
            </a:gs>
            <a:gs pos="100000">
              <a:schemeClr val="phClr">
                <a:shade val="96000"/>
                <a:satMod val="160000"/>
                <a:lumMod val="100000"/>
              </a:schemeClr>
            </a:gs>
          </a:gsLst>
          <a:lin ang="4740000" scaled="1"/>
        </a:gradFill>
        <a:blipFill>
          <a:blip xmlns:r="http://schemas.openxmlformats.org/officeDocument/2006/relationships" r:embed="rId1"/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elestial" id="{C4BB2A3D-0E93-4C5F-B0D2-9D3FCE089CC5}" vid="{42E5908D-19A2-46FD-89FA-638B126129E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elestial</Template>
  <TotalTime>110</TotalTime>
  <Words>280</Words>
  <Application>Microsoft Office PowerPoint</Application>
  <PresentationFormat>Widescreen</PresentationFormat>
  <Paragraphs>45</Paragraphs>
  <Slides>6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Calibri Light</vt:lpstr>
      <vt:lpstr>Celestial</vt:lpstr>
      <vt:lpstr>CREATING Cloud Migration Strategy</vt:lpstr>
      <vt:lpstr>Requirements</vt:lpstr>
      <vt:lpstr>Key Points</vt:lpstr>
      <vt:lpstr> MIGRATION Roadmap</vt:lpstr>
      <vt:lpstr>PowerPoint Presentation</vt:lpstr>
      <vt:lpstr>Key Points of SUMMARY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ATING Cloud Migration Strategy</dc:title>
  <dc:creator>Phani Kishore Lanka</dc:creator>
  <cp:lastModifiedBy>Phani Kishore Lanka</cp:lastModifiedBy>
  <cp:revision>16</cp:revision>
  <dcterms:created xsi:type="dcterms:W3CDTF">2023-02-09T01:58:12Z</dcterms:created>
  <dcterms:modified xsi:type="dcterms:W3CDTF">2023-02-09T03:48:14Z</dcterms:modified>
</cp:coreProperties>
</file>